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7"/>
  </p:notesMasterIdLst>
  <p:sldIdLst>
    <p:sldId id="1722" r:id="rId4"/>
    <p:sldId id="4642" r:id="rId5"/>
    <p:sldId id="1731" r:id="rId6"/>
    <p:sldId id="1635" r:id="rId7"/>
    <p:sldId id="2260" r:id="rId8"/>
    <p:sldId id="4673" r:id="rId9"/>
    <p:sldId id="4674" r:id="rId10"/>
    <p:sldId id="4630" r:id="rId11"/>
    <p:sldId id="4675" r:id="rId12"/>
    <p:sldId id="1726" r:id="rId13"/>
    <p:sldId id="4627" r:id="rId14"/>
    <p:sldId id="1728" r:id="rId15"/>
    <p:sldId id="4676" r:id="rId16"/>
    <p:sldId id="4677" r:id="rId17"/>
    <p:sldId id="2263" r:id="rId18"/>
    <p:sldId id="4671" r:id="rId19"/>
    <p:sldId id="2272" r:id="rId20"/>
    <p:sldId id="2274" r:id="rId21"/>
    <p:sldId id="2276" r:id="rId22"/>
    <p:sldId id="4643" r:id="rId23"/>
    <p:sldId id="4679" r:id="rId24"/>
    <p:sldId id="4681" r:id="rId25"/>
    <p:sldId id="4682" r:id="rId26"/>
    <p:sldId id="4683" r:id="rId27"/>
    <p:sldId id="4684" r:id="rId28"/>
    <p:sldId id="4685" r:id="rId29"/>
    <p:sldId id="4686" r:id="rId30"/>
    <p:sldId id="4687" r:id="rId31"/>
    <p:sldId id="1171" r:id="rId32"/>
    <p:sldId id="1483" r:id="rId33"/>
    <p:sldId id="2388" r:id="rId34"/>
    <p:sldId id="4688" r:id="rId35"/>
    <p:sldId id="4689" r:id="rId36"/>
    <p:sldId id="4690" r:id="rId37"/>
    <p:sldId id="4691" r:id="rId38"/>
    <p:sldId id="4692" r:id="rId39"/>
    <p:sldId id="4693" r:id="rId40"/>
    <p:sldId id="4694" r:id="rId41"/>
    <p:sldId id="4695" r:id="rId42"/>
    <p:sldId id="4589" r:id="rId43"/>
    <p:sldId id="1479" r:id="rId44"/>
    <p:sldId id="1480" r:id="rId45"/>
    <p:sldId id="4696" r:id="rId46"/>
  </p:sldIdLst>
  <p:sldSz cx="12192000" cy="6858000"/>
  <p:notesSz cx="6858000" cy="9144000"/>
  <p:embeddedFontLs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</p:embeddedFontLst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font" Target="fonts/font3.fntdata"/><Relationship Id="rId55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6.fntdata"/><Relationship Id="rId58" Type="http://schemas.openxmlformats.org/officeDocument/2006/relationships/tableStyles" Target="tableStyles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font" Target="fonts/font1.fntdata"/><Relationship Id="rId56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2.fntdata"/><Relationship Id="rId57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MR$1</c:f>
              <c:strCache>
                <c:ptCount val="351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  <c:pt idx="344">
                  <c:v>3-XII.</c:v>
                </c:pt>
                <c:pt idx="345">
                  <c:v>4-XII.</c:v>
                </c:pt>
                <c:pt idx="346">
                  <c:v>5-XII.</c:v>
                </c:pt>
                <c:pt idx="347">
                  <c:v>6-XII.</c:v>
                </c:pt>
                <c:pt idx="348">
                  <c:v>7-XII.</c:v>
                </c:pt>
                <c:pt idx="349">
                  <c:v>8-XII.</c:v>
                </c:pt>
                <c:pt idx="350">
                  <c:v>9-XII.</c:v>
                </c:pt>
              </c:strCache>
            </c:strRef>
          </c:cat>
          <c:val>
            <c:numRef>
              <c:f>List1!$F$2:$MR$2</c:f>
              <c:numCache>
                <c:formatCode>General</c:formatCode>
                <c:ptCount val="351"/>
                <c:pt idx="3">
                  <c:v>1050</c:v>
                </c:pt>
                <c:pt idx="4">
                  <c:v>2945</c:v>
                </c:pt>
                <c:pt idx="5">
                  <c:v>5610</c:v>
                </c:pt>
                <c:pt idx="6">
                  <c:v>8312</c:v>
                </c:pt>
                <c:pt idx="7">
                  <c:v>9203</c:v>
                </c:pt>
                <c:pt idx="8">
                  <c:v>9440</c:v>
                </c:pt>
                <c:pt idx="9">
                  <c:v>10602</c:v>
                </c:pt>
                <c:pt idx="10">
                  <c:v>11443</c:v>
                </c:pt>
                <c:pt idx="11">
                  <c:v>14615</c:v>
                </c:pt>
                <c:pt idx="12">
                  <c:v>18538</c:v>
                </c:pt>
                <c:pt idx="13">
                  <c:v>23463</c:v>
                </c:pt>
                <c:pt idx="14">
                  <c:v>29292</c:v>
                </c:pt>
                <c:pt idx="15">
                  <c:v>36079</c:v>
                </c:pt>
                <c:pt idx="16">
                  <c:v>37242</c:v>
                </c:pt>
                <c:pt idx="17">
                  <c:v>38195</c:v>
                </c:pt>
                <c:pt idx="18">
                  <c:v>44614</c:v>
                </c:pt>
                <c:pt idx="19">
                  <c:v>52042</c:v>
                </c:pt>
                <c:pt idx="20">
                  <c:v>58646</c:v>
                </c:pt>
                <c:pt idx="21">
                  <c:v>65625</c:v>
                </c:pt>
                <c:pt idx="22">
                  <c:v>71827</c:v>
                </c:pt>
                <c:pt idx="23">
                  <c:v>72762</c:v>
                </c:pt>
                <c:pt idx="24">
                  <c:v>73311</c:v>
                </c:pt>
                <c:pt idx="25">
                  <c:v>78000</c:v>
                </c:pt>
                <c:pt idx="26">
                  <c:v>81808</c:v>
                </c:pt>
                <c:pt idx="27">
                  <c:v>85523</c:v>
                </c:pt>
                <c:pt idx="28">
                  <c:v>88915</c:v>
                </c:pt>
                <c:pt idx="29">
                  <c:v>91805</c:v>
                </c:pt>
                <c:pt idx="30">
                  <c:v>92196</c:v>
                </c:pt>
                <c:pt idx="31">
                  <c:v>92431</c:v>
                </c:pt>
                <c:pt idx="32">
                  <c:v>94038</c:v>
                </c:pt>
                <c:pt idx="33">
                  <c:v>95806</c:v>
                </c:pt>
                <c:pt idx="34">
                  <c:v>97254</c:v>
                </c:pt>
                <c:pt idx="35">
                  <c:v>98643</c:v>
                </c:pt>
                <c:pt idx="36">
                  <c:v>99922</c:v>
                </c:pt>
                <c:pt idx="37">
                  <c:v>99993</c:v>
                </c:pt>
                <c:pt idx="38">
                  <c:v>100064</c:v>
                </c:pt>
                <c:pt idx="39">
                  <c:v>100957</c:v>
                </c:pt>
                <c:pt idx="40">
                  <c:v>101825</c:v>
                </c:pt>
                <c:pt idx="41">
                  <c:v>102642</c:v>
                </c:pt>
                <c:pt idx="42">
                  <c:v>103352</c:v>
                </c:pt>
                <c:pt idx="43">
                  <c:v>104280</c:v>
                </c:pt>
                <c:pt idx="44">
                  <c:v>104330</c:v>
                </c:pt>
                <c:pt idx="45">
                  <c:v>104381</c:v>
                </c:pt>
                <c:pt idx="46">
                  <c:v>105022</c:v>
                </c:pt>
                <c:pt idx="47">
                  <c:v>105677</c:v>
                </c:pt>
                <c:pt idx="48">
                  <c:v>106542</c:v>
                </c:pt>
                <c:pt idx="49">
                  <c:v>107595</c:v>
                </c:pt>
                <c:pt idx="50">
                  <c:v>108797</c:v>
                </c:pt>
                <c:pt idx="51">
                  <c:v>109180</c:v>
                </c:pt>
                <c:pt idx="52">
                  <c:v>109365</c:v>
                </c:pt>
                <c:pt idx="53">
                  <c:v>110688</c:v>
                </c:pt>
                <c:pt idx="54">
                  <c:v>111982</c:v>
                </c:pt>
                <c:pt idx="55">
                  <c:v>113358</c:v>
                </c:pt>
                <c:pt idx="56">
                  <c:v>114924</c:v>
                </c:pt>
                <c:pt idx="57">
                  <c:v>116779</c:v>
                </c:pt>
                <c:pt idx="58">
                  <c:v>117239</c:v>
                </c:pt>
                <c:pt idx="59">
                  <c:v>117402</c:v>
                </c:pt>
                <c:pt idx="60">
                  <c:v>118995</c:v>
                </c:pt>
                <c:pt idx="61">
                  <c:v>121285</c:v>
                </c:pt>
                <c:pt idx="62">
                  <c:v>123784</c:v>
                </c:pt>
                <c:pt idx="63">
                  <c:v>126813</c:v>
                </c:pt>
                <c:pt idx="64">
                  <c:v>129423</c:v>
                </c:pt>
                <c:pt idx="65">
                  <c:v>129732</c:v>
                </c:pt>
                <c:pt idx="66">
                  <c:v>129951</c:v>
                </c:pt>
                <c:pt idx="67">
                  <c:v>132501</c:v>
                </c:pt>
                <c:pt idx="68">
                  <c:v>135262</c:v>
                </c:pt>
                <c:pt idx="69">
                  <c:v>137927</c:v>
                </c:pt>
                <c:pt idx="70">
                  <c:v>140379</c:v>
                </c:pt>
                <c:pt idx="71">
                  <c:v>143344</c:v>
                </c:pt>
                <c:pt idx="72">
                  <c:v>144048</c:v>
                </c:pt>
                <c:pt idx="73">
                  <c:v>144559</c:v>
                </c:pt>
                <c:pt idx="74">
                  <c:v>146506</c:v>
                </c:pt>
                <c:pt idx="75">
                  <c:v>148650</c:v>
                </c:pt>
                <c:pt idx="76">
                  <c:v>150898</c:v>
                </c:pt>
                <c:pt idx="77">
                  <c:v>153898</c:v>
                </c:pt>
                <c:pt idx="78">
                  <c:v>156512</c:v>
                </c:pt>
                <c:pt idx="79">
                  <c:v>157171</c:v>
                </c:pt>
                <c:pt idx="80">
                  <c:v>157739</c:v>
                </c:pt>
                <c:pt idx="81">
                  <c:v>159325</c:v>
                </c:pt>
                <c:pt idx="82">
                  <c:v>161656</c:v>
                </c:pt>
                <c:pt idx="83">
                  <c:v>163972</c:v>
                </c:pt>
                <c:pt idx="84">
                  <c:v>165999</c:v>
                </c:pt>
                <c:pt idx="85">
                  <c:v>168259</c:v>
                </c:pt>
                <c:pt idx="86">
                  <c:v>169134</c:v>
                </c:pt>
                <c:pt idx="87">
                  <c:v>169583</c:v>
                </c:pt>
                <c:pt idx="88">
                  <c:v>170736</c:v>
                </c:pt>
                <c:pt idx="89">
                  <c:v>171975</c:v>
                </c:pt>
                <c:pt idx="90">
                  <c:v>173042</c:v>
                </c:pt>
                <c:pt idx="91">
                  <c:v>174341</c:v>
                </c:pt>
                <c:pt idx="92">
                  <c:v>175716</c:v>
                </c:pt>
                <c:pt idx="93">
                  <c:v>176091</c:v>
                </c:pt>
                <c:pt idx="94">
                  <c:v>176435</c:v>
                </c:pt>
                <c:pt idx="95">
                  <c:v>177218</c:v>
                </c:pt>
                <c:pt idx="96">
                  <c:v>178247</c:v>
                </c:pt>
                <c:pt idx="97">
                  <c:v>179372</c:v>
                </c:pt>
                <c:pt idx="98">
                  <c:v>180475</c:v>
                </c:pt>
                <c:pt idx="99">
                  <c:v>180744</c:v>
                </c:pt>
                <c:pt idx="100">
                  <c:v>180864</c:v>
                </c:pt>
                <c:pt idx="101">
                  <c:v>180980</c:v>
                </c:pt>
                <c:pt idx="102">
                  <c:v>181052</c:v>
                </c:pt>
                <c:pt idx="103">
                  <c:v>181618</c:v>
                </c:pt>
                <c:pt idx="104">
                  <c:v>182291</c:v>
                </c:pt>
                <c:pt idx="105">
                  <c:v>183535</c:v>
                </c:pt>
                <c:pt idx="106">
                  <c:v>184808</c:v>
                </c:pt>
                <c:pt idx="107">
                  <c:v>185184</c:v>
                </c:pt>
                <c:pt idx="108">
                  <c:v>185432</c:v>
                </c:pt>
                <c:pt idx="109">
                  <c:v>186366</c:v>
                </c:pt>
                <c:pt idx="110">
                  <c:v>187178</c:v>
                </c:pt>
                <c:pt idx="111">
                  <c:v>188121</c:v>
                </c:pt>
                <c:pt idx="112">
                  <c:v>189485</c:v>
                </c:pt>
                <c:pt idx="113">
                  <c:v>191031</c:v>
                </c:pt>
                <c:pt idx="114">
                  <c:v>191452</c:v>
                </c:pt>
                <c:pt idx="115">
                  <c:v>191892</c:v>
                </c:pt>
                <c:pt idx="116">
                  <c:v>192993</c:v>
                </c:pt>
                <c:pt idx="117">
                  <c:v>194041</c:v>
                </c:pt>
                <c:pt idx="118">
                  <c:v>195331</c:v>
                </c:pt>
                <c:pt idx="119">
                  <c:v>196801</c:v>
                </c:pt>
                <c:pt idx="120">
                  <c:v>198319</c:v>
                </c:pt>
                <c:pt idx="121">
                  <c:v>198758</c:v>
                </c:pt>
                <c:pt idx="122">
                  <c:v>199134</c:v>
                </c:pt>
                <c:pt idx="123">
                  <c:v>200338</c:v>
                </c:pt>
                <c:pt idx="124">
                  <c:v>201431</c:v>
                </c:pt>
                <c:pt idx="125">
                  <c:v>202820</c:v>
                </c:pt>
                <c:pt idx="126">
                  <c:v>204292</c:v>
                </c:pt>
                <c:pt idx="127">
                  <c:v>205693</c:v>
                </c:pt>
                <c:pt idx="128">
                  <c:v>206030</c:v>
                </c:pt>
                <c:pt idx="129">
                  <c:v>206369</c:v>
                </c:pt>
                <c:pt idx="130">
                  <c:v>207451</c:v>
                </c:pt>
                <c:pt idx="131">
                  <c:v>208553</c:v>
                </c:pt>
                <c:pt idx="132">
                  <c:v>209698</c:v>
                </c:pt>
                <c:pt idx="133">
                  <c:v>210894</c:v>
                </c:pt>
                <c:pt idx="134">
                  <c:v>212198</c:v>
                </c:pt>
                <c:pt idx="135">
                  <c:v>212700</c:v>
                </c:pt>
                <c:pt idx="136">
                  <c:v>213010</c:v>
                </c:pt>
                <c:pt idx="137">
                  <c:v>213984</c:v>
                </c:pt>
                <c:pt idx="138">
                  <c:v>215009</c:v>
                </c:pt>
                <c:pt idx="139">
                  <c:v>216050</c:v>
                </c:pt>
                <c:pt idx="140">
                  <c:v>217189</c:v>
                </c:pt>
                <c:pt idx="141">
                  <c:v>218191</c:v>
                </c:pt>
                <c:pt idx="142">
                  <c:v>218632</c:v>
                </c:pt>
                <c:pt idx="143">
                  <c:v>218917</c:v>
                </c:pt>
                <c:pt idx="144">
                  <c:v>219704</c:v>
                </c:pt>
                <c:pt idx="145">
                  <c:v>220583</c:v>
                </c:pt>
                <c:pt idx="146">
                  <c:v>221488</c:v>
                </c:pt>
                <c:pt idx="147">
                  <c:v>222419</c:v>
                </c:pt>
                <c:pt idx="148">
                  <c:v>223341</c:v>
                </c:pt>
                <c:pt idx="149">
                  <c:v>223693</c:v>
                </c:pt>
                <c:pt idx="150">
                  <c:v>223921</c:v>
                </c:pt>
                <c:pt idx="151">
                  <c:v>224474</c:v>
                </c:pt>
                <c:pt idx="152">
                  <c:v>225103</c:v>
                </c:pt>
                <c:pt idx="153">
                  <c:v>225957</c:v>
                </c:pt>
                <c:pt idx="154">
                  <c:v>226742</c:v>
                </c:pt>
                <c:pt idx="155">
                  <c:v>227567</c:v>
                </c:pt>
                <c:pt idx="156">
                  <c:v>227931</c:v>
                </c:pt>
                <c:pt idx="157">
                  <c:v>228219</c:v>
                </c:pt>
                <c:pt idx="158">
                  <c:v>228910</c:v>
                </c:pt>
                <c:pt idx="159">
                  <c:v>229635</c:v>
                </c:pt>
                <c:pt idx="160">
                  <c:v>230528</c:v>
                </c:pt>
                <c:pt idx="161">
                  <c:v>231367</c:v>
                </c:pt>
                <c:pt idx="162">
                  <c:v>232253</c:v>
                </c:pt>
                <c:pt idx="163">
                  <c:v>232673</c:v>
                </c:pt>
                <c:pt idx="164">
                  <c:v>233076</c:v>
                </c:pt>
                <c:pt idx="165">
                  <c:v>233968</c:v>
                </c:pt>
                <c:pt idx="166">
                  <c:v>234949</c:v>
                </c:pt>
                <c:pt idx="167">
                  <c:v>235865</c:v>
                </c:pt>
                <c:pt idx="168">
                  <c:v>236741</c:v>
                </c:pt>
                <c:pt idx="169">
                  <c:v>237597</c:v>
                </c:pt>
                <c:pt idx="170">
                  <c:v>238121</c:v>
                </c:pt>
                <c:pt idx="171">
                  <c:v>238493</c:v>
                </c:pt>
                <c:pt idx="172">
                  <c:v>239161</c:v>
                </c:pt>
                <c:pt idx="173">
                  <c:v>239915</c:v>
                </c:pt>
                <c:pt idx="174">
                  <c:v>240620</c:v>
                </c:pt>
                <c:pt idx="175">
                  <c:v>241329</c:v>
                </c:pt>
                <c:pt idx="176">
                  <c:v>242001</c:v>
                </c:pt>
                <c:pt idx="177">
                  <c:v>242334</c:v>
                </c:pt>
                <c:pt idx="178">
                  <c:v>242594</c:v>
                </c:pt>
                <c:pt idx="179">
                  <c:v>243103</c:v>
                </c:pt>
                <c:pt idx="180">
                  <c:v>243689</c:v>
                </c:pt>
                <c:pt idx="181">
                  <c:v>244186</c:v>
                </c:pt>
                <c:pt idx="182">
                  <c:v>244687</c:v>
                </c:pt>
                <c:pt idx="183">
                  <c:v>245185</c:v>
                </c:pt>
                <c:pt idx="184">
                  <c:v>245441</c:v>
                </c:pt>
                <c:pt idx="185">
                  <c:v>245629</c:v>
                </c:pt>
                <c:pt idx="186">
                  <c:v>246125</c:v>
                </c:pt>
                <c:pt idx="187">
                  <c:v>246585</c:v>
                </c:pt>
                <c:pt idx="188">
                  <c:v>247065</c:v>
                </c:pt>
                <c:pt idx="189">
                  <c:v>247427</c:v>
                </c:pt>
                <c:pt idx="190">
                  <c:v>247908</c:v>
                </c:pt>
                <c:pt idx="191">
                  <c:v>248006</c:v>
                </c:pt>
                <c:pt idx="192">
                  <c:v>248122</c:v>
                </c:pt>
                <c:pt idx="193">
                  <c:v>248234</c:v>
                </c:pt>
                <c:pt idx="194">
                  <c:v>248332</c:v>
                </c:pt>
                <c:pt idx="195">
                  <c:v>248745</c:v>
                </c:pt>
                <c:pt idx="196">
                  <c:v>249192</c:v>
                </c:pt>
                <c:pt idx="197">
                  <c:v>249635</c:v>
                </c:pt>
                <c:pt idx="198">
                  <c:v>249801</c:v>
                </c:pt>
                <c:pt idx="199">
                  <c:v>249922</c:v>
                </c:pt>
                <c:pt idx="200">
                  <c:v>250368</c:v>
                </c:pt>
                <c:pt idx="201">
                  <c:v>250814</c:v>
                </c:pt>
                <c:pt idx="202">
                  <c:v>251299</c:v>
                </c:pt>
                <c:pt idx="203">
                  <c:v>251793</c:v>
                </c:pt>
                <c:pt idx="204">
                  <c:v>252280</c:v>
                </c:pt>
                <c:pt idx="205">
                  <c:v>252461</c:v>
                </c:pt>
                <c:pt idx="206">
                  <c:v>252607</c:v>
                </c:pt>
                <c:pt idx="207">
                  <c:v>253028</c:v>
                </c:pt>
                <c:pt idx="208">
                  <c:v>253382</c:v>
                </c:pt>
                <c:pt idx="209">
                  <c:v>253851</c:v>
                </c:pt>
                <c:pt idx="210">
                  <c:v>254247</c:v>
                </c:pt>
                <c:pt idx="211">
                  <c:v>254639</c:v>
                </c:pt>
                <c:pt idx="212">
                  <c:v>254751</c:v>
                </c:pt>
                <c:pt idx="213">
                  <c:v>254840</c:v>
                </c:pt>
                <c:pt idx="214">
                  <c:v>255228</c:v>
                </c:pt>
                <c:pt idx="215">
                  <c:v>255650</c:v>
                </c:pt>
                <c:pt idx="216">
                  <c:v>256011</c:v>
                </c:pt>
                <c:pt idx="217">
                  <c:v>256347</c:v>
                </c:pt>
                <c:pt idx="218">
                  <c:v>256766</c:v>
                </c:pt>
                <c:pt idx="219">
                  <c:v>256888</c:v>
                </c:pt>
                <c:pt idx="220">
                  <c:v>256990</c:v>
                </c:pt>
                <c:pt idx="221">
                  <c:v>257272</c:v>
                </c:pt>
                <c:pt idx="222">
                  <c:v>257540</c:v>
                </c:pt>
                <c:pt idx="223">
                  <c:v>257853</c:v>
                </c:pt>
                <c:pt idx="224">
                  <c:v>258119</c:v>
                </c:pt>
                <c:pt idx="225">
                  <c:v>258401</c:v>
                </c:pt>
                <c:pt idx="226">
                  <c:v>258474</c:v>
                </c:pt>
                <c:pt idx="227">
                  <c:v>258538</c:v>
                </c:pt>
                <c:pt idx="228">
                  <c:v>258748</c:v>
                </c:pt>
                <c:pt idx="229">
                  <c:v>258957</c:v>
                </c:pt>
                <c:pt idx="230">
                  <c:v>259120</c:v>
                </c:pt>
                <c:pt idx="231">
                  <c:v>259353</c:v>
                </c:pt>
                <c:pt idx="232">
                  <c:v>259545</c:v>
                </c:pt>
                <c:pt idx="233">
                  <c:v>259602</c:v>
                </c:pt>
                <c:pt idx="234">
                  <c:v>259648</c:v>
                </c:pt>
                <c:pt idx="235">
                  <c:v>259832</c:v>
                </c:pt>
                <c:pt idx="236">
                  <c:v>260013</c:v>
                </c:pt>
                <c:pt idx="237">
                  <c:v>260176</c:v>
                </c:pt>
                <c:pt idx="238">
                  <c:v>260340</c:v>
                </c:pt>
                <c:pt idx="239">
                  <c:v>260585</c:v>
                </c:pt>
                <c:pt idx="240">
                  <c:v>260627</c:v>
                </c:pt>
                <c:pt idx="241">
                  <c:v>260660</c:v>
                </c:pt>
                <c:pt idx="242">
                  <c:v>260860</c:v>
                </c:pt>
                <c:pt idx="243">
                  <c:v>261053</c:v>
                </c:pt>
                <c:pt idx="244">
                  <c:v>261219</c:v>
                </c:pt>
                <c:pt idx="245">
                  <c:v>261381</c:v>
                </c:pt>
                <c:pt idx="246">
                  <c:v>261598</c:v>
                </c:pt>
                <c:pt idx="247">
                  <c:v>261643</c:v>
                </c:pt>
                <c:pt idx="248">
                  <c:v>261676</c:v>
                </c:pt>
                <c:pt idx="249">
                  <c:v>261846</c:v>
                </c:pt>
                <c:pt idx="250">
                  <c:v>262010</c:v>
                </c:pt>
                <c:pt idx="251">
                  <c:v>262132</c:v>
                </c:pt>
                <c:pt idx="252">
                  <c:v>262307</c:v>
                </c:pt>
                <c:pt idx="253">
                  <c:v>262503</c:v>
                </c:pt>
                <c:pt idx="254">
                  <c:v>262538</c:v>
                </c:pt>
                <c:pt idx="255">
                  <c:v>262571</c:v>
                </c:pt>
                <c:pt idx="256">
                  <c:v>262707</c:v>
                </c:pt>
                <c:pt idx="257">
                  <c:v>262797</c:v>
                </c:pt>
                <c:pt idx="258">
                  <c:v>262920</c:v>
                </c:pt>
                <c:pt idx="259">
                  <c:v>263062</c:v>
                </c:pt>
                <c:pt idx="260">
                  <c:v>263207</c:v>
                </c:pt>
                <c:pt idx="261">
                  <c:v>263241</c:v>
                </c:pt>
                <c:pt idx="262">
                  <c:v>263264</c:v>
                </c:pt>
                <c:pt idx="263">
                  <c:v>263375</c:v>
                </c:pt>
                <c:pt idx="264">
                  <c:v>263507</c:v>
                </c:pt>
                <c:pt idx="265">
                  <c:v>263614</c:v>
                </c:pt>
                <c:pt idx="266">
                  <c:v>263735</c:v>
                </c:pt>
                <c:pt idx="267">
                  <c:v>263900</c:v>
                </c:pt>
                <c:pt idx="268">
                  <c:v>263941</c:v>
                </c:pt>
                <c:pt idx="269">
                  <c:v>263953</c:v>
                </c:pt>
                <c:pt idx="270">
                  <c:v>264055</c:v>
                </c:pt>
                <c:pt idx="271">
                  <c:v>264159</c:v>
                </c:pt>
                <c:pt idx="272">
                  <c:v>264254</c:v>
                </c:pt>
                <c:pt idx="273">
                  <c:v>264388</c:v>
                </c:pt>
                <c:pt idx="274">
                  <c:v>264555</c:v>
                </c:pt>
                <c:pt idx="275">
                  <c:v>264587</c:v>
                </c:pt>
                <c:pt idx="276">
                  <c:v>264597</c:v>
                </c:pt>
                <c:pt idx="277">
                  <c:v>264694</c:v>
                </c:pt>
                <c:pt idx="278">
                  <c:v>264702</c:v>
                </c:pt>
                <c:pt idx="279">
                  <c:v>264787</c:v>
                </c:pt>
                <c:pt idx="280">
                  <c:v>264887</c:v>
                </c:pt>
                <c:pt idx="281">
                  <c:v>264979</c:v>
                </c:pt>
                <c:pt idx="282">
                  <c:v>265000</c:v>
                </c:pt>
                <c:pt idx="283">
                  <c:v>265014</c:v>
                </c:pt>
                <c:pt idx="284">
                  <c:v>265082</c:v>
                </c:pt>
                <c:pt idx="285">
                  <c:v>265164</c:v>
                </c:pt>
                <c:pt idx="286">
                  <c:v>265262</c:v>
                </c:pt>
                <c:pt idx="287">
                  <c:v>265332</c:v>
                </c:pt>
                <c:pt idx="288">
                  <c:v>265444</c:v>
                </c:pt>
                <c:pt idx="289">
                  <c:v>265469</c:v>
                </c:pt>
                <c:pt idx="290">
                  <c:v>265481</c:v>
                </c:pt>
                <c:pt idx="291">
                  <c:v>265557</c:v>
                </c:pt>
                <c:pt idx="292">
                  <c:v>265642</c:v>
                </c:pt>
                <c:pt idx="293">
                  <c:v>265723</c:v>
                </c:pt>
                <c:pt idx="294">
                  <c:v>265790</c:v>
                </c:pt>
                <c:pt idx="295">
                  <c:v>265908</c:v>
                </c:pt>
                <c:pt idx="296">
                  <c:v>265939</c:v>
                </c:pt>
                <c:pt idx="297">
                  <c:v>265969</c:v>
                </c:pt>
                <c:pt idx="298">
                  <c:v>266099</c:v>
                </c:pt>
                <c:pt idx="299">
                  <c:v>266193</c:v>
                </c:pt>
                <c:pt idx="300">
                  <c:v>266325</c:v>
                </c:pt>
                <c:pt idx="301">
                  <c:v>266564</c:v>
                </c:pt>
                <c:pt idx="302">
                  <c:v>266870</c:v>
                </c:pt>
                <c:pt idx="303">
                  <c:v>266953</c:v>
                </c:pt>
                <c:pt idx="304">
                  <c:v>267017</c:v>
                </c:pt>
                <c:pt idx="305">
                  <c:v>267279</c:v>
                </c:pt>
                <c:pt idx="306">
                  <c:v>267639</c:v>
                </c:pt>
                <c:pt idx="307">
                  <c:v>268056</c:v>
                </c:pt>
                <c:pt idx="308">
                  <c:v>268139</c:v>
                </c:pt>
                <c:pt idx="309">
                  <c:v>268516</c:v>
                </c:pt>
                <c:pt idx="310">
                  <c:v>268624</c:v>
                </c:pt>
                <c:pt idx="311">
                  <c:v>268692</c:v>
                </c:pt>
                <c:pt idx="312">
                  <c:v>269106</c:v>
                </c:pt>
                <c:pt idx="313">
                  <c:v>269517</c:v>
                </c:pt>
                <c:pt idx="314">
                  <c:v>269929</c:v>
                </c:pt>
                <c:pt idx="315">
                  <c:v>270427</c:v>
                </c:pt>
                <c:pt idx="316">
                  <c:v>270988</c:v>
                </c:pt>
                <c:pt idx="317">
                  <c:v>271142</c:v>
                </c:pt>
                <c:pt idx="318">
                  <c:v>271238</c:v>
                </c:pt>
                <c:pt idx="319">
                  <c:v>271637</c:v>
                </c:pt>
                <c:pt idx="320">
                  <c:v>271974</c:v>
                </c:pt>
                <c:pt idx="321">
                  <c:v>272360</c:v>
                </c:pt>
                <c:pt idx="322">
                  <c:v>272752</c:v>
                </c:pt>
                <c:pt idx="323">
                  <c:v>273281</c:v>
                </c:pt>
                <c:pt idx="324">
                  <c:v>273404</c:v>
                </c:pt>
                <c:pt idx="325">
                  <c:v>273490</c:v>
                </c:pt>
                <c:pt idx="326">
                  <c:v>273908</c:v>
                </c:pt>
                <c:pt idx="327">
                  <c:v>274373</c:v>
                </c:pt>
                <c:pt idx="328">
                  <c:v>274477</c:v>
                </c:pt>
                <c:pt idx="329">
                  <c:v>274981</c:v>
                </c:pt>
                <c:pt idx="330">
                  <c:v>275593</c:v>
                </c:pt>
                <c:pt idx="331">
                  <c:v>275789</c:v>
                </c:pt>
                <c:pt idx="332">
                  <c:v>275931</c:v>
                </c:pt>
                <c:pt idx="333">
                  <c:v>276341</c:v>
                </c:pt>
                <c:pt idx="334">
                  <c:v>276764</c:v>
                </c:pt>
                <c:pt idx="335">
                  <c:v>277221</c:v>
                </c:pt>
                <c:pt idx="336">
                  <c:v>277698</c:v>
                </c:pt>
                <c:pt idx="337">
                  <c:v>278221</c:v>
                </c:pt>
                <c:pt idx="338">
                  <c:v>278370</c:v>
                </c:pt>
                <c:pt idx="339">
                  <c:v>278421</c:v>
                </c:pt>
                <c:pt idx="340">
                  <c:v>278768</c:v>
                </c:pt>
                <c:pt idx="341">
                  <c:v>279094</c:v>
                </c:pt>
                <c:pt idx="342">
                  <c:v>279437</c:v>
                </c:pt>
                <c:pt idx="343">
                  <c:v>279692</c:v>
                </c:pt>
                <c:pt idx="344">
                  <c:v>279948</c:v>
                </c:pt>
                <c:pt idx="345">
                  <c:v>279999</c:v>
                </c:pt>
                <c:pt idx="346">
                  <c:v>280019</c:v>
                </c:pt>
                <c:pt idx="347">
                  <c:v>280209</c:v>
                </c:pt>
                <c:pt idx="348">
                  <c:v>280380</c:v>
                </c:pt>
                <c:pt idx="349">
                  <c:v>280586</c:v>
                </c:pt>
                <c:pt idx="350">
                  <c:v>280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MR$1</c:f>
              <c:strCache>
                <c:ptCount val="351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  <c:pt idx="344">
                  <c:v>3-XII.</c:v>
                </c:pt>
                <c:pt idx="345">
                  <c:v>4-XII.</c:v>
                </c:pt>
                <c:pt idx="346">
                  <c:v>5-XII.</c:v>
                </c:pt>
                <c:pt idx="347">
                  <c:v>6-XII.</c:v>
                </c:pt>
                <c:pt idx="348">
                  <c:v>7-XII.</c:v>
                </c:pt>
                <c:pt idx="349">
                  <c:v>8-XII.</c:v>
                </c:pt>
                <c:pt idx="350">
                  <c:v>9-XII.</c:v>
                </c:pt>
              </c:strCache>
            </c:strRef>
          </c:cat>
          <c:val>
            <c:numRef>
              <c:f>List1!$F$3:$MR$3</c:f>
              <c:numCache>
                <c:formatCode>General</c:formatCode>
                <c:ptCount val="351"/>
                <c:pt idx="3">
                  <c:v>409</c:v>
                </c:pt>
                <c:pt idx="4">
                  <c:v>1123</c:v>
                </c:pt>
                <c:pt idx="5">
                  <c:v>2233</c:v>
                </c:pt>
                <c:pt idx="6">
                  <c:v>3369</c:v>
                </c:pt>
                <c:pt idx="7">
                  <c:v>3749</c:v>
                </c:pt>
                <c:pt idx="8">
                  <c:v>3868</c:v>
                </c:pt>
                <c:pt idx="9">
                  <c:v>4349</c:v>
                </c:pt>
                <c:pt idx="10">
                  <c:v>4666</c:v>
                </c:pt>
                <c:pt idx="11">
                  <c:v>6014</c:v>
                </c:pt>
                <c:pt idx="12">
                  <c:v>7657</c:v>
                </c:pt>
                <c:pt idx="13">
                  <c:v>9668</c:v>
                </c:pt>
                <c:pt idx="14">
                  <c:v>12221</c:v>
                </c:pt>
                <c:pt idx="15">
                  <c:v>15353</c:v>
                </c:pt>
                <c:pt idx="16">
                  <c:v>15800</c:v>
                </c:pt>
                <c:pt idx="17">
                  <c:v>16154</c:v>
                </c:pt>
                <c:pt idx="18">
                  <c:v>18955</c:v>
                </c:pt>
                <c:pt idx="19">
                  <c:v>22147</c:v>
                </c:pt>
                <c:pt idx="20">
                  <c:v>25011</c:v>
                </c:pt>
                <c:pt idx="21">
                  <c:v>28200</c:v>
                </c:pt>
                <c:pt idx="22">
                  <c:v>30986</c:v>
                </c:pt>
                <c:pt idx="23">
                  <c:v>31368</c:v>
                </c:pt>
                <c:pt idx="24">
                  <c:v>31595</c:v>
                </c:pt>
                <c:pt idx="25">
                  <c:v>33549</c:v>
                </c:pt>
                <c:pt idx="26">
                  <c:v>35238</c:v>
                </c:pt>
                <c:pt idx="27">
                  <c:v>36884</c:v>
                </c:pt>
                <c:pt idx="28">
                  <c:v>38416</c:v>
                </c:pt>
                <c:pt idx="29">
                  <c:v>39726</c:v>
                </c:pt>
                <c:pt idx="30">
                  <c:v>39884</c:v>
                </c:pt>
                <c:pt idx="31">
                  <c:v>39993</c:v>
                </c:pt>
                <c:pt idx="32">
                  <c:v>40639</c:v>
                </c:pt>
                <c:pt idx="33">
                  <c:v>41413</c:v>
                </c:pt>
                <c:pt idx="34">
                  <c:v>42067</c:v>
                </c:pt>
                <c:pt idx="35">
                  <c:v>42675</c:v>
                </c:pt>
                <c:pt idx="36">
                  <c:v>43238</c:v>
                </c:pt>
                <c:pt idx="37">
                  <c:v>43260</c:v>
                </c:pt>
                <c:pt idx="38">
                  <c:v>43278</c:v>
                </c:pt>
                <c:pt idx="39">
                  <c:v>43635</c:v>
                </c:pt>
                <c:pt idx="40">
                  <c:v>43977</c:v>
                </c:pt>
                <c:pt idx="41">
                  <c:v>44338</c:v>
                </c:pt>
                <c:pt idx="42">
                  <c:v>44670</c:v>
                </c:pt>
                <c:pt idx="43">
                  <c:v>45088</c:v>
                </c:pt>
                <c:pt idx="44">
                  <c:v>45110</c:v>
                </c:pt>
                <c:pt idx="45">
                  <c:v>45131</c:v>
                </c:pt>
                <c:pt idx="46">
                  <c:v>45400</c:v>
                </c:pt>
                <c:pt idx="47">
                  <c:v>45722</c:v>
                </c:pt>
                <c:pt idx="48">
                  <c:v>46125</c:v>
                </c:pt>
                <c:pt idx="49">
                  <c:v>46598</c:v>
                </c:pt>
                <c:pt idx="50">
                  <c:v>47130</c:v>
                </c:pt>
                <c:pt idx="51">
                  <c:v>47304</c:v>
                </c:pt>
                <c:pt idx="52">
                  <c:v>47358</c:v>
                </c:pt>
                <c:pt idx="53">
                  <c:v>47910</c:v>
                </c:pt>
                <c:pt idx="54">
                  <c:v>48399</c:v>
                </c:pt>
                <c:pt idx="55">
                  <c:v>48969</c:v>
                </c:pt>
                <c:pt idx="56">
                  <c:v>49639</c:v>
                </c:pt>
                <c:pt idx="57">
                  <c:v>50394</c:v>
                </c:pt>
                <c:pt idx="58">
                  <c:v>50522</c:v>
                </c:pt>
                <c:pt idx="59">
                  <c:v>50581</c:v>
                </c:pt>
                <c:pt idx="60">
                  <c:v>51178</c:v>
                </c:pt>
                <c:pt idx="61">
                  <c:v>51992</c:v>
                </c:pt>
                <c:pt idx="62">
                  <c:v>52815</c:v>
                </c:pt>
                <c:pt idx="63">
                  <c:v>54041</c:v>
                </c:pt>
                <c:pt idx="64">
                  <c:v>55031</c:v>
                </c:pt>
                <c:pt idx="65">
                  <c:v>55107</c:v>
                </c:pt>
                <c:pt idx="66">
                  <c:v>55154</c:v>
                </c:pt>
                <c:pt idx="67">
                  <c:v>56044</c:v>
                </c:pt>
                <c:pt idx="68">
                  <c:v>56997</c:v>
                </c:pt>
                <c:pt idx="69">
                  <c:v>57990</c:v>
                </c:pt>
                <c:pt idx="70">
                  <c:v>58898</c:v>
                </c:pt>
                <c:pt idx="71">
                  <c:v>60086</c:v>
                </c:pt>
                <c:pt idx="72">
                  <c:v>60335</c:v>
                </c:pt>
                <c:pt idx="73">
                  <c:v>60523</c:v>
                </c:pt>
                <c:pt idx="74">
                  <c:v>61300</c:v>
                </c:pt>
                <c:pt idx="75">
                  <c:v>62226</c:v>
                </c:pt>
                <c:pt idx="76">
                  <c:v>63173</c:v>
                </c:pt>
                <c:pt idx="77">
                  <c:v>64499</c:v>
                </c:pt>
                <c:pt idx="78">
                  <c:v>65599</c:v>
                </c:pt>
                <c:pt idx="79">
                  <c:v>65835</c:v>
                </c:pt>
                <c:pt idx="80">
                  <c:v>66078</c:v>
                </c:pt>
                <c:pt idx="81">
                  <c:v>66783</c:v>
                </c:pt>
                <c:pt idx="82">
                  <c:v>67824</c:v>
                </c:pt>
                <c:pt idx="83">
                  <c:v>68845</c:v>
                </c:pt>
                <c:pt idx="84">
                  <c:v>69738</c:v>
                </c:pt>
                <c:pt idx="85">
                  <c:v>70713</c:v>
                </c:pt>
                <c:pt idx="86">
                  <c:v>71073</c:v>
                </c:pt>
                <c:pt idx="87">
                  <c:v>71246</c:v>
                </c:pt>
                <c:pt idx="88">
                  <c:v>71777</c:v>
                </c:pt>
                <c:pt idx="89">
                  <c:v>72330</c:v>
                </c:pt>
                <c:pt idx="90">
                  <c:v>72835</c:v>
                </c:pt>
                <c:pt idx="91">
                  <c:v>73392</c:v>
                </c:pt>
                <c:pt idx="92">
                  <c:v>73972</c:v>
                </c:pt>
                <c:pt idx="93">
                  <c:v>74124</c:v>
                </c:pt>
                <c:pt idx="94">
                  <c:v>74291</c:v>
                </c:pt>
                <c:pt idx="95">
                  <c:v>74639</c:v>
                </c:pt>
                <c:pt idx="96">
                  <c:v>75085</c:v>
                </c:pt>
                <c:pt idx="97">
                  <c:v>75553</c:v>
                </c:pt>
                <c:pt idx="98">
                  <c:v>76006</c:v>
                </c:pt>
                <c:pt idx="99">
                  <c:v>76111</c:v>
                </c:pt>
                <c:pt idx="100">
                  <c:v>76153</c:v>
                </c:pt>
                <c:pt idx="101">
                  <c:v>76202</c:v>
                </c:pt>
                <c:pt idx="102">
                  <c:v>76238</c:v>
                </c:pt>
                <c:pt idx="103">
                  <c:v>76484</c:v>
                </c:pt>
                <c:pt idx="104">
                  <c:v>76801</c:v>
                </c:pt>
                <c:pt idx="105">
                  <c:v>77340</c:v>
                </c:pt>
                <c:pt idx="106">
                  <c:v>77914</c:v>
                </c:pt>
                <c:pt idx="107">
                  <c:v>78072</c:v>
                </c:pt>
                <c:pt idx="108">
                  <c:v>78172</c:v>
                </c:pt>
                <c:pt idx="109">
                  <c:v>78597</c:v>
                </c:pt>
                <c:pt idx="110">
                  <c:v>78975</c:v>
                </c:pt>
                <c:pt idx="111">
                  <c:v>79428</c:v>
                </c:pt>
                <c:pt idx="112">
                  <c:v>80084</c:v>
                </c:pt>
                <c:pt idx="113">
                  <c:v>80809</c:v>
                </c:pt>
                <c:pt idx="114">
                  <c:v>81012</c:v>
                </c:pt>
                <c:pt idx="115">
                  <c:v>81203</c:v>
                </c:pt>
                <c:pt idx="116">
                  <c:v>81722</c:v>
                </c:pt>
                <c:pt idx="117">
                  <c:v>82226</c:v>
                </c:pt>
                <c:pt idx="118">
                  <c:v>82884</c:v>
                </c:pt>
                <c:pt idx="119">
                  <c:v>83608</c:v>
                </c:pt>
                <c:pt idx="120">
                  <c:v>84321</c:v>
                </c:pt>
                <c:pt idx="121">
                  <c:v>84521</c:v>
                </c:pt>
                <c:pt idx="122">
                  <c:v>84709</c:v>
                </c:pt>
                <c:pt idx="123">
                  <c:v>85316</c:v>
                </c:pt>
                <c:pt idx="124">
                  <c:v>85864</c:v>
                </c:pt>
                <c:pt idx="125">
                  <c:v>86567</c:v>
                </c:pt>
                <c:pt idx="126">
                  <c:v>87325</c:v>
                </c:pt>
                <c:pt idx="127">
                  <c:v>87972</c:v>
                </c:pt>
                <c:pt idx="128">
                  <c:v>88126</c:v>
                </c:pt>
                <c:pt idx="129">
                  <c:v>88279</c:v>
                </c:pt>
                <c:pt idx="130">
                  <c:v>88787</c:v>
                </c:pt>
                <c:pt idx="131">
                  <c:v>89308</c:v>
                </c:pt>
                <c:pt idx="132">
                  <c:v>89833</c:v>
                </c:pt>
                <c:pt idx="133">
                  <c:v>90381</c:v>
                </c:pt>
                <c:pt idx="134">
                  <c:v>90950</c:v>
                </c:pt>
                <c:pt idx="135">
                  <c:v>91167</c:v>
                </c:pt>
                <c:pt idx="136">
                  <c:v>91274</c:v>
                </c:pt>
                <c:pt idx="137">
                  <c:v>91671</c:v>
                </c:pt>
                <c:pt idx="138">
                  <c:v>92150</c:v>
                </c:pt>
                <c:pt idx="139">
                  <c:v>92583</c:v>
                </c:pt>
                <c:pt idx="140">
                  <c:v>93019</c:v>
                </c:pt>
                <c:pt idx="141">
                  <c:v>93384</c:v>
                </c:pt>
                <c:pt idx="142">
                  <c:v>93543</c:v>
                </c:pt>
                <c:pt idx="143">
                  <c:v>93647</c:v>
                </c:pt>
                <c:pt idx="144">
                  <c:v>93964</c:v>
                </c:pt>
                <c:pt idx="145">
                  <c:v>94337</c:v>
                </c:pt>
                <c:pt idx="146">
                  <c:v>94696</c:v>
                </c:pt>
                <c:pt idx="147">
                  <c:v>95087</c:v>
                </c:pt>
                <c:pt idx="148">
                  <c:v>95450</c:v>
                </c:pt>
                <c:pt idx="149">
                  <c:v>95595</c:v>
                </c:pt>
                <c:pt idx="150">
                  <c:v>95693</c:v>
                </c:pt>
                <c:pt idx="151">
                  <c:v>95906</c:v>
                </c:pt>
                <c:pt idx="152">
                  <c:v>96145</c:v>
                </c:pt>
                <c:pt idx="153">
                  <c:v>96495</c:v>
                </c:pt>
                <c:pt idx="154">
                  <c:v>96824</c:v>
                </c:pt>
                <c:pt idx="155">
                  <c:v>97108</c:v>
                </c:pt>
                <c:pt idx="156">
                  <c:v>97250</c:v>
                </c:pt>
                <c:pt idx="157">
                  <c:v>97340</c:v>
                </c:pt>
                <c:pt idx="158">
                  <c:v>97617</c:v>
                </c:pt>
                <c:pt idx="159">
                  <c:v>97888</c:v>
                </c:pt>
                <c:pt idx="160">
                  <c:v>98232</c:v>
                </c:pt>
                <c:pt idx="161">
                  <c:v>98585</c:v>
                </c:pt>
                <c:pt idx="162">
                  <c:v>98910</c:v>
                </c:pt>
                <c:pt idx="163">
                  <c:v>99046</c:v>
                </c:pt>
                <c:pt idx="164">
                  <c:v>99176</c:v>
                </c:pt>
                <c:pt idx="165">
                  <c:v>99511</c:v>
                </c:pt>
                <c:pt idx="166">
                  <c:v>99851</c:v>
                </c:pt>
                <c:pt idx="167">
                  <c:v>100199</c:v>
                </c:pt>
                <c:pt idx="168">
                  <c:v>100554</c:v>
                </c:pt>
                <c:pt idx="169">
                  <c:v>100855</c:v>
                </c:pt>
                <c:pt idx="170">
                  <c:v>101062</c:v>
                </c:pt>
                <c:pt idx="171">
                  <c:v>101178</c:v>
                </c:pt>
                <c:pt idx="172">
                  <c:v>101420</c:v>
                </c:pt>
                <c:pt idx="173">
                  <c:v>101691</c:v>
                </c:pt>
                <c:pt idx="174">
                  <c:v>101932</c:v>
                </c:pt>
                <c:pt idx="175">
                  <c:v>102200</c:v>
                </c:pt>
                <c:pt idx="176">
                  <c:v>102417</c:v>
                </c:pt>
                <c:pt idx="177">
                  <c:v>102535</c:v>
                </c:pt>
                <c:pt idx="178">
                  <c:v>102628</c:v>
                </c:pt>
                <c:pt idx="179">
                  <c:v>102806</c:v>
                </c:pt>
                <c:pt idx="180">
                  <c:v>103025</c:v>
                </c:pt>
                <c:pt idx="181">
                  <c:v>103214</c:v>
                </c:pt>
                <c:pt idx="182">
                  <c:v>103374</c:v>
                </c:pt>
                <c:pt idx="183">
                  <c:v>103561</c:v>
                </c:pt>
                <c:pt idx="184">
                  <c:v>103652</c:v>
                </c:pt>
                <c:pt idx="185">
                  <c:v>103719</c:v>
                </c:pt>
                <c:pt idx="186">
                  <c:v>103900</c:v>
                </c:pt>
                <c:pt idx="187">
                  <c:v>104068</c:v>
                </c:pt>
                <c:pt idx="188">
                  <c:v>104248</c:v>
                </c:pt>
                <c:pt idx="189">
                  <c:v>104389</c:v>
                </c:pt>
                <c:pt idx="190">
                  <c:v>104582</c:v>
                </c:pt>
                <c:pt idx="191">
                  <c:v>104615</c:v>
                </c:pt>
                <c:pt idx="192">
                  <c:v>104660</c:v>
                </c:pt>
                <c:pt idx="193">
                  <c:v>104708</c:v>
                </c:pt>
                <c:pt idx="194">
                  <c:v>104740</c:v>
                </c:pt>
                <c:pt idx="195">
                  <c:v>104904</c:v>
                </c:pt>
                <c:pt idx="196">
                  <c:v>105082</c:v>
                </c:pt>
                <c:pt idx="197">
                  <c:v>105251</c:v>
                </c:pt>
                <c:pt idx="198">
                  <c:v>105310</c:v>
                </c:pt>
                <c:pt idx="199">
                  <c:v>105359</c:v>
                </c:pt>
                <c:pt idx="200">
                  <c:v>105521</c:v>
                </c:pt>
                <c:pt idx="201">
                  <c:v>105706</c:v>
                </c:pt>
                <c:pt idx="202">
                  <c:v>105910</c:v>
                </c:pt>
                <c:pt idx="203">
                  <c:v>106100</c:v>
                </c:pt>
                <c:pt idx="204">
                  <c:v>106283</c:v>
                </c:pt>
                <c:pt idx="205">
                  <c:v>106333</c:v>
                </c:pt>
                <c:pt idx="206">
                  <c:v>106391</c:v>
                </c:pt>
                <c:pt idx="207">
                  <c:v>106562</c:v>
                </c:pt>
                <c:pt idx="208">
                  <c:v>106711</c:v>
                </c:pt>
                <c:pt idx="209">
                  <c:v>106891</c:v>
                </c:pt>
                <c:pt idx="210">
                  <c:v>107068</c:v>
                </c:pt>
                <c:pt idx="211">
                  <c:v>107215</c:v>
                </c:pt>
                <c:pt idx="212">
                  <c:v>107259</c:v>
                </c:pt>
                <c:pt idx="213">
                  <c:v>107285</c:v>
                </c:pt>
                <c:pt idx="214">
                  <c:v>107453</c:v>
                </c:pt>
                <c:pt idx="215">
                  <c:v>107622</c:v>
                </c:pt>
                <c:pt idx="216">
                  <c:v>107773</c:v>
                </c:pt>
                <c:pt idx="217">
                  <c:v>107922</c:v>
                </c:pt>
                <c:pt idx="218">
                  <c:v>108087</c:v>
                </c:pt>
                <c:pt idx="219">
                  <c:v>108126</c:v>
                </c:pt>
                <c:pt idx="220">
                  <c:v>108166</c:v>
                </c:pt>
                <c:pt idx="221">
                  <c:v>108265</c:v>
                </c:pt>
                <c:pt idx="222">
                  <c:v>108377</c:v>
                </c:pt>
                <c:pt idx="223">
                  <c:v>108506</c:v>
                </c:pt>
                <c:pt idx="224">
                  <c:v>108615</c:v>
                </c:pt>
                <c:pt idx="225">
                  <c:v>108735</c:v>
                </c:pt>
                <c:pt idx="226">
                  <c:v>108757</c:v>
                </c:pt>
                <c:pt idx="227">
                  <c:v>108782</c:v>
                </c:pt>
                <c:pt idx="228">
                  <c:v>108867</c:v>
                </c:pt>
                <c:pt idx="229">
                  <c:v>108946</c:v>
                </c:pt>
                <c:pt idx="230">
                  <c:v>109016</c:v>
                </c:pt>
                <c:pt idx="231">
                  <c:v>109122</c:v>
                </c:pt>
                <c:pt idx="232">
                  <c:v>109185</c:v>
                </c:pt>
                <c:pt idx="233">
                  <c:v>109206</c:v>
                </c:pt>
                <c:pt idx="234">
                  <c:v>109228</c:v>
                </c:pt>
                <c:pt idx="235">
                  <c:v>109314</c:v>
                </c:pt>
                <c:pt idx="236">
                  <c:v>109393</c:v>
                </c:pt>
                <c:pt idx="237">
                  <c:v>109456</c:v>
                </c:pt>
                <c:pt idx="238">
                  <c:v>109526</c:v>
                </c:pt>
                <c:pt idx="239">
                  <c:v>109641</c:v>
                </c:pt>
                <c:pt idx="240">
                  <c:v>109655</c:v>
                </c:pt>
                <c:pt idx="241">
                  <c:v>109666</c:v>
                </c:pt>
                <c:pt idx="242">
                  <c:v>109762</c:v>
                </c:pt>
                <c:pt idx="243">
                  <c:v>109850</c:v>
                </c:pt>
                <c:pt idx="244">
                  <c:v>109917</c:v>
                </c:pt>
                <c:pt idx="245">
                  <c:v>109989</c:v>
                </c:pt>
                <c:pt idx="246">
                  <c:v>110077</c:v>
                </c:pt>
                <c:pt idx="247">
                  <c:v>110093</c:v>
                </c:pt>
                <c:pt idx="248">
                  <c:v>110109</c:v>
                </c:pt>
                <c:pt idx="249">
                  <c:v>110181</c:v>
                </c:pt>
                <c:pt idx="250">
                  <c:v>110242</c:v>
                </c:pt>
                <c:pt idx="251">
                  <c:v>110298</c:v>
                </c:pt>
                <c:pt idx="252">
                  <c:v>110372</c:v>
                </c:pt>
                <c:pt idx="253">
                  <c:v>110448</c:v>
                </c:pt>
                <c:pt idx="254">
                  <c:v>110460</c:v>
                </c:pt>
                <c:pt idx="255">
                  <c:v>110470</c:v>
                </c:pt>
                <c:pt idx="256">
                  <c:v>110529</c:v>
                </c:pt>
                <c:pt idx="257">
                  <c:v>110571</c:v>
                </c:pt>
                <c:pt idx="258">
                  <c:v>110622</c:v>
                </c:pt>
                <c:pt idx="259">
                  <c:v>110677</c:v>
                </c:pt>
                <c:pt idx="260">
                  <c:v>110728</c:v>
                </c:pt>
                <c:pt idx="261">
                  <c:v>110745</c:v>
                </c:pt>
                <c:pt idx="262">
                  <c:v>110752</c:v>
                </c:pt>
                <c:pt idx="263">
                  <c:v>110796</c:v>
                </c:pt>
                <c:pt idx="264">
                  <c:v>110859</c:v>
                </c:pt>
                <c:pt idx="265">
                  <c:v>110907</c:v>
                </c:pt>
                <c:pt idx="266">
                  <c:v>110964</c:v>
                </c:pt>
                <c:pt idx="267">
                  <c:v>111032</c:v>
                </c:pt>
                <c:pt idx="268">
                  <c:v>111049</c:v>
                </c:pt>
                <c:pt idx="269">
                  <c:v>111055</c:v>
                </c:pt>
                <c:pt idx="270">
                  <c:v>111093</c:v>
                </c:pt>
                <c:pt idx="271">
                  <c:v>111142</c:v>
                </c:pt>
                <c:pt idx="272">
                  <c:v>111185</c:v>
                </c:pt>
                <c:pt idx="273">
                  <c:v>111238</c:v>
                </c:pt>
                <c:pt idx="274">
                  <c:v>111310</c:v>
                </c:pt>
                <c:pt idx="275">
                  <c:v>111320</c:v>
                </c:pt>
                <c:pt idx="276">
                  <c:v>111324</c:v>
                </c:pt>
                <c:pt idx="277">
                  <c:v>111367</c:v>
                </c:pt>
                <c:pt idx="278">
                  <c:v>111369</c:v>
                </c:pt>
                <c:pt idx="279">
                  <c:v>111410</c:v>
                </c:pt>
                <c:pt idx="280">
                  <c:v>111449</c:v>
                </c:pt>
                <c:pt idx="281">
                  <c:v>111483</c:v>
                </c:pt>
                <c:pt idx="282">
                  <c:v>111490</c:v>
                </c:pt>
                <c:pt idx="283">
                  <c:v>111497</c:v>
                </c:pt>
                <c:pt idx="284">
                  <c:v>111525</c:v>
                </c:pt>
                <c:pt idx="285">
                  <c:v>111572</c:v>
                </c:pt>
                <c:pt idx="286">
                  <c:v>111621</c:v>
                </c:pt>
                <c:pt idx="287">
                  <c:v>111649</c:v>
                </c:pt>
                <c:pt idx="288">
                  <c:v>111700</c:v>
                </c:pt>
                <c:pt idx="289">
                  <c:v>111710</c:v>
                </c:pt>
                <c:pt idx="290">
                  <c:v>111715</c:v>
                </c:pt>
                <c:pt idx="291">
                  <c:v>111745</c:v>
                </c:pt>
                <c:pt idx="292">
                  <c:v>111766</c:v>
                </c:pt>
                <c:pt idx="293">
                  <c:v>111803</c:v>
                </c:pt>
                <c:pt idx="294">
                  <c:v>111832</c:v>
                </c:pt>
                <c:pt idx="295">
                  <c:v>111876</c:v>
                </c:pt>
                <c:pt idx="296">
                  <c:v>111888</c:v>
                </c:pt>
                <c:pt idx="297">
                  <c:v>111905</c:v>
                </c:pt>
                <c:pt idx="298">
                  <c:v>111957</c:v>
                </c:pt>
                <c:pt idx="299">
                  <c:v>112012</c:v>
                </c:pt>
                <c:pt idx="300">
                  <c:v>112071</c:v>
                </c:pt>
                <c:pt idx="301">
                  <c:v>112185</c:v>
                </c:pt>
                <c:pt idx="302">
                  <c:v>112309</c:v>
                </c:pt>
                <c:pt idx="303">
                  <c:v>112335</c:v>
                </c:pt>
                <c:pt idx="304">
                  <c:v>112359</c:v>
                </c:pt>
                <c:pt idx="305">
                  <c:v>112484</c:v>
                </c:pt>
                <c:pt idx="306">
                  <c:v>112652</c:v>
                </c:pt>
                <c:pt idx="307">
                  <c:v>112852</c:v>
                </c:pt>
                <c:pt idx="308">
                  <c:v>112889</c:v>
                </c:pt>
                <c:pt idx="309">
                  <c:v>113052</c:v>
                </c:pt>
                <c:pt idx="310">
                  <c:v>113098</c:v>
                </c:pt>
                <c:pt idx="311">
                  <c:v>113130</c:v>
                </c:pt>
                <c:pt idx="312">
                  <c:v>113298</c:v>
                </c:pt>
                <c:pt idx="313">
                  <c:v>113497</c:v>
                </c:pt>
                <c:pt idx="314">
                  <c:v>113686</c:v>
                </c:pt>
                <c:pt idx="315">
                  <c:v>113916</c:v>
                </c:pt>
                <c:pt idx="316">
                  <c:v>114163</c:v>
                </c:pt>
                <c:pt idx="317">
                  <c:v>114220</c:v>
                </c:pt>
                <c:pt idx="318">
                  <c:v>114258</c:v>
                </c:pt>
                <c:pt idx="319">
                  <c:v>114445</c:v>
                </c:pt>
                <c:pt idx="320">
                  <c:v>114598</c:v>
                </c:pt>
                <c:pt idx="321">
                  <c:v>114786</c:v>
                </c:pt>
                <c:pt idx="322">
                  <c:v>114962</c:v>
                </c:pt>
                <c:pt idx="323">
                  <c:v>115166</c:v>
                </c:pt>
                <c:pt idx="324">
                  <c:v>115225</c:v>
                </c:pt>
                <c:pt idx="325">
                  <c:v>115263</c:v>
                </c:pt>
                <c:pt idx="326">
                  <c:v>115453</c:v>
                </c:pt>
                <c:pt idx="327">
                  <c:v>115656</c:v>
                </c:pt>
                <c:pt idx="328">
                  <c:v>115707</c:v>
                </c:pt>
                <c:pt idx="329">
                  <c:v>115928</c:v>
                </c:pt>
                <c:pt idx="330">
                  <c:v>116202</c:v>
                </c:pt>
                <c:pt idx="331">
                  <c:v>116294</c:v>
                </c:pt>
                <c:pt idx="332">
                  <c:v>116361</c:v>
                </c:pt>
                <c:pt idx="333">
                  <c:v>116545</c:v>
                </c:pt>
                <c:pt idx="334">
                  <c:v>116726</c:v>
                </c:pt>
                <c:pt idx="335">
                  <c:v>116952</c:v>
                </c:pt>
                <c:pt idx="336">
                  <c:v>117166</c:v>
                </c:pt>
                <c:pt idx="337">
                  <c:v>117408</c:v>
                </c:pt>
                <c:pt idx="338">
                  <c:v>117469</c:v>
                </c:pt>
                <c:pt idx="339">
                  <c:v>117493</c:v>
                </c:pt>
                <c:pt idx="340">
                  <c:v>117643</c:v>
                </c:pt>
                <c:pt idx="341">
                  <c:v>117799</c:v>
                </c:pt>
                <c:pt idx="342">
                  <c:v>117952</c:v>
                </c:pt>
                <c:pt idx="343">
                  <c:v>118070</c:v>
                </c:pt>
                <c:pt idx="344">
                  <c:v>118179</c:v>
                </c:pt>
                <c:pt idx="345">
                  <c:v>118206</c:v>
                </c:pt>
                <c:pt idx="346">
                  <c:v>118216</c:v>
                </c:pt>
                <c:pt idx="347">
                  <c:v>118315</c:v>
                </c:pt>
                <c:pt idx="348">
                  <c:v>118396</c:v>
                </c:pt>
                <c:pt idx="349">
                  <c:v>118493</c:v>
                </c:pt>
                <c:pt idx="350">
                  <c:v>118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MR$1</c:f>
              <c:strCache>
                <c:ptCount val="351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  <c:pt idx="344">
                  <c:v>3-XII.</c:v>
                </c:pt>
                <c:pt idx="345">
                  <c:v>4-XII.</c:v>
                </c:pt>
                <c:pt idx="346">
                  <c:v>5-XII.</c:v>
                </c:pt>
                <c:pt idx="347">
                  <c:v>6-XII.</c:v>
                </c:pt>
                <c:pt idx="348">
                  <c:v>7-XII.</c:v>
                </c:pt>
                <c:pt idx="349">
                  <c:v>8-XII.</c:v>
                </c:pt>
                <c:pt idx="350">
                  <c:v>9-XII.</c:v>
                </c:pt>
              </c:strCache>
            </c:strRef>
          </c:cat>
          <c:val>
            <c:numRef>
              <c:f>List1!$F$4:$MR$4</c:f>
              <c:numCache>
                <c:formatCode>General</c:formatCode>
                <c:ptCount val="351"/>
                <c:pt idx="3">
                  <c:v>194</c:v>
                </c:pt>
                <c:pt idx="4">
                  <c:v>643</c:v>
                </c:pt>
                <c:pt idx="5">
                  <c:v>1251</c:v>
                </c:pt>
                <c:pt idx="6">
                  <c:v>1874</c:v>
                </c:pt>
                <c:pt idx="7">
                  <c:v>2047</c:v>
                </c:pt>
                <c:pt idx="8">
                  <c:v>2076</c:v>
                </c:pt>
                <c:pt idx="9">
                  <c:v>2364</c:v>
                </c:pt>
                <c:pt idx="10">
                  <c:v>2575</c:v>
                </c:pt>
                <c:pt idx="11">
                  <c:v>3201</c:v>
                </c:pt>
                <c:pt idx="12">
                  <c:v>4165</c:v>
                </c:pt>
                <c:pt idx="13">
                  <c:v>5583</c:v>
                </c:pt>
                <c:pt idx="14">
                  <c:v>7180</c:v>
                </c:pt>
                <c:pt idx="15">
                  <c:v>9023</c:v>
                </c:pt>
                <c:pt idx="16">
                  <c:v>9330</c:v>
                </c:pt>
                <c:pt idx="17">
                  <c:v>9637</c:v>
                </c:pt>
                <c:pt idx="18">
                  <c:v>11504</c:v>
                </c:pt>
                <c:pt idx="19">
                  <c:v>13789</c:v>
                </c:pt>
                <c:pt idx="20">
                  <c:v>15828</c:v>
                </c:pt>
                <c:pt idx="21">
                  <c:v>17712</c:v>
                </c:pt>
                <c:pt idx="22">
                  <c:v>19322</c:v>
                </c:pt>
                <c:pt idx="23">
                  <c:v>19541</c:v>
                </c:pt>
                <c:pt idx="24">
                  <c:v>19637</c:v>
                </c:pt>
                <c:pt idx="25">
                  <c:v>20812</c:v>
                </c:pt>
                <c:pt idx="26">
                  <c:v>21750</c:v>
                </c:pt>
                <c:pt idx="27">
                  <c:v>22691</c:v>
                </c:pt>
                <c:pt idx="28">
                  <c:v>23549</c:v>
                </c:pt>
                <c:pt idx="29">
                  <c:v>24299</c:v>
                </c:pt>
                <c:pt idx="30">
                  <c:v>24363</c:v>
                </c:pt>
                <c:pt idx="31">
                  <c:v>24407</c:v>
                </c:pt>
                <c:pt idx="32">
                  <c:v>24858</c:v>
                </c:pt>
                <c:pt idx="33">
                  <c:v>25312</c:v>
                </c:pt>
                <c:pt idx="34">
                  <c:v>25707</c:v>
                </c:pt>
                <c:pt idx="35">
                  <c:v>26108</c:v>
                </c:pt>
                <c:pt idx="36">
                  <c:v>26493</c:v>
                </c:pt>
                <c:pt idx="37">
                  <c:v>26517</c:v>
                </c:pt>
                <c:pt idx="38">
                  <c:v>26549</c:v>
                </c:pt>
                <c:pt idx="39">
                  <c:v>26840</c:v>
                </c:pt>
                <c:pt idx="40">
                  <c:v>27130</c:v>
                </c:pt>
                <c:pt idx="41">
                  <c:v>27363</c:v>
                </c:pt>
                <c:pt idx="42">
                  <c:v>27546</c:v>
                </c:pt>
                <c:pt idx="43">
                  <c:v>27781</c:v>
                </c:pt>
                <c:pt idx="44">
                  <c:v>27790</c:v>
                </c:pt>
                <c:pt idx="45">
                  <c:v>27808</c:v>
                </c:pt>
                <c:pt idx="46">
                  <c:v>28044</c:v>
                </c:pt>
                <c:pt idx="47">
                  <c:v>28239</c:v>
                </c:pt>
                <c:pt idx="48">
                  <c:v>28506</c:v>
                </c:pt>
                <c:pt idx="49">
                  <c:v>28855</c:v>
                </c:pt>
                <c:pt idx="50">
                  <c:v>29246</c:v>
                </c:pt>
                <c:pt idx="51">
                  <c:v>29356</c:v>
                </c:pt>
                <c:pt idx="52">
                  <c:v>29422</c:v>
                </c:pt>
                <c:pt idx="53">
                  <c:v>29837</c:v>
                </c:pt>
                <c:pt idx="54">
                  <c:v>30344</c:v>
                </c:pt>
                <c:pt idx="55">
                  <c:v>30889</c:v>
                </c:pt>
                <c:pt idx="56">
                  <c:v>31446</c:v>
                </c:pt>
                <c:pt idx="57">
                  <c:v>32099</c:v>
                </c:pt>
                <c:pt idx="58">
                  <c:v>32325</c:v>
                </c:pt>
                <c:pt idx="59">
                  <c:v>32382</c:v>
                </c:pt>
                <c:pt idx="60">
                  <c:v>33067</c:v>
                </c:pt>
                <c:pt idx="61">
                  <c:v>34062</c:v>
                </c:pt>
                <c:pt idx="62">
                  <c:v>35138</c:v>
                </c:pt>
                <c:pt idx="63">
                  <c:v>36288</c:v>
                </c:pt>
                <c:pt idx="64">
                  <c:v>37364</c:v>
                </c:pt>
                <c:pt idx="65">
                  <c:v>37523</c:v>
                </c:pt>
                <c:pt idx="66">
                  <c:v>37652</c:v>
                </c:pt>
                <c:pt idx="67">
                  <c:v>38764</c:v>
                </c:pt>
                <c:pt idx="68">
                  <c:v>39976</c:v>
                </c:pt>
                <c:pt idx="69">
                  <c:v>41088</c:v>
                </c:pt>
                <c:pt idx="70">
                  <c:v>42089</c:v>
                </c:pt>
                <c:pt idx="71">
                  <c:v>43272</c:v>
                </c:pt>
                <c:pt idx="72">
                  <c:v>43560</c:v>
                </c:pt>
                <c:pt idx="73">
                  <c:v>43775</c:v>
                </c:pt>
                <c:pt idx="74">
                  <c:v>44618</c:v>
                </c:pt>
                <c:pt idx="75">
                  <c:v>45439</c:v>
                </c:pt>
                <c:pt idx="76">
                  <c:v>46335</c:v>
                </c:pt>
                <c:pt idx="77">
                  <c:v>47531</c:v>
                </c:pt>
                <c:pt idx="78">
                  <c:v>48640</c:v>
                </c:pt>
                <c:pt idx="79">
                  <c:v>48924</c:v>
                </c:pt>
                <c:pt idx="80">
                  <c:v>49164</c:v>
                </c:pt>
                <c:pt idx="81">
                  <c:v>49791</c:v>
                </c:pt>
                <c:pt idx="82">
                  <c:v>50719</c:v>
                </c:pt>
                <c:pt idx="83">
                  <c:v>51657</c:v>
                </c:pt>
                <c:pt idx="84">
                  <c:v>52435</c:v>
                </c:pt>
                <c:pt idx="85">
                  <c:v>53391</c:v>
                </c:pt>
                <c:pt idx="86">
                  <c:v>53791</c:v>
                </c:pt>
                <c:pt idx="87">
                  <c:v>53997</c:v>
                </c:pt>
                <c:pt idx="88">
                  <c:v>54446</c:v>
                </c:pt>
                <c:pt idx="89">
                  <c:v>54939</c:v>
                </c:pt>
                <c:pt idx="90">
                  <c:v>55355</c:v>
                </c:pt>
                <c:pt idx="91">
                  <c:v>55903</c:v>
                </c:pt>
                <c:pt idx="92">
                  <c:v>56480</c:v>
                </c:pt>
                <c:pt idx="93">
                  <c:v>56640</c:v>
                </c:pt>
                <c:pt idx="94">
                  <c:v>56775</c:v>
                </c:pt>
                <c:pt idx="95">
                  <c:v>57085</c:v>
                </c:pt>
                <c:pt idx="96">
                  <c:v>57508</c:v>
                </c:pt>
                <c:pt idx="97">
                  <c:v>58005</c:v>
                </c:pt>
                <c:pt idx="98">
                  <c:v>58436</c:v>
                </c:pt>
                <c:pt idx="99">
                  <c:v>58523</c:v>
                </c:pt>
                <c:pt idx="100">
                  <c:v>58581</c:v>
                </c:pt>
                <c:pt idx="101">
                  <c:v>58619</c:v>
                </c:pt>
                <c:pt idx="102">
                  <c:v>58648</c:v>
                </c:pt>
                <c:pt idx="103">
                  <c:v>58878</c:v>
                </c:pt>
                <c:pt idx="104">
                  <c:v>59140</c:v>
                </c:pt>
                <c:pt idx="105">
                  <c:v>59676</c:v>
                </c:pt>
                <c:pt idx="106">
                  <c:v>60174</c:v>
                </c:pt>
                <c:pt idx="107">
                  <c:v>60347</c:v>
                </c:pt>
                <c:pt idx="108">
                  <c:v>60462</c:v>
                </c:pt>
                <c:pt idx="109">
                  <c:v>60835</c:v>
                </c:pt>
                <c:pt idx="110">
                  <c:v>61148</c:v>
                </c:pt>
                <c:pt idx="111">
                  <c:v>61533</c:v>
                </c:pt>
                <c:pt idx="112">
                  <c:v>62085</c:v>
                </c:pt>
                <c:pt idx="113">
                  <c:v>62731</c:v>
                </c:pt>
                <c:pt idx="114">
                  <c:v>62908</c:v>
                </c:pt>
                <c:pt idx="115">
                  <c:v>63102</c:v>
                </c:pt>
                <c:pt idx="116">
                  <c:v>63557</c:v>
                </c:pt>
                <c:pt idx="117">
                  <c:v>63982</c:v>
                </c:pt>
                <c:pt idx="118">
                  <c:v>64480</c:v>
                </c:pt>
                <c:pt idx="119">
                  <c:v>65080</c:v>
                </c:pt>
                <c:pt idx="120">
                  <c:v>65729</c:v>
                </c:pt>
                <c:pt idx="121">
                  <c:v>65912</c:v>
                </c:pt>
                <c:pt idx="122">
                  <c:v>66063</c:v>
                </c:pt>
                <c:pt idx="123">
                  <c:v>66546</c:v>
                </c:pt>
                <c:pt idx="124">
                  <c:v>66971</c:v>
                </c:pt>
                <c:pt idx="125">
                  <c:v>67537</c:v>
                </c:pt>
                <c:pt idx="126">
                  <c:v>68121</c:v>
                </c:pt>
                <c:pt idx="127">
                  <c:v>68737</c:v>
                </c:pt>
                <c:pt idx="128">
                  <c:v>68891</c:v>
                </c:pt>
                <c:pt idx="129">
                  <c:v>69047</c:v>
                </c:pt>
                <c:pt idx="130">
                  <c:v>69500</c:v>
                </c:pt>
                <c:pt idx="131">
                  <c:v>69955</c:v>
                </c:pt>
                <c:pt idx="132">
                  <c:v>70479</c:v>
                </c:pt>
                <c:pt idx="133">
                  <c:v>71010</c:v>
                </c:pt>
                <c:pt idx="134">
                  <c:v>71574</c:v>
                </c:pt>
                <c:pt idx="135">
                  <c:v>71797</c:v>
                </c:pt>
                <c:pt idx="136">
                  <c:v>71968</c:v>
                </c:pt>
                <c:pt idx="137">
                  <c:v>72446</c:v>
                </c:pt>
                <c:pt idx="138">
                  <c:v>72877</c:v>
                </c:pt>
                <c:pt idx="139">
                  <c:v>73353</c:v>
                </c:pt>
                <c:pt idx="140">
                  <c:v>73899</c:v>
                </c:pt>
                <c:pt idx="141">
                  <c:v>74408</c:v>
                </c:pt>
                <c:pt idx="142">
                  <c:v>74619</c:v>
                </c:pt>
                <c:pt idx="143">
                  <c:v>74769</c:v>
                </c:pt>
                <c:pt idx="144">
                  <c:v>75157</c:v>
                </c:pt>
                <c:pt idx="145">
                  <c:v>75571</c:v>
                </c:pt>
                <c:pt idx="146">
                  <c:v>76032</c:v>
                </c:pt>
                <c:pt idx="147">
                  <c:v>76473</c:v>
                </c:pt>
                <c:pt idx="148">
                  <c:v>76925</c:v>
                </c:pt>
                <c:pt idx="149">
                  <c:v>77101</c:v>
                </c:pt>
                <c:pt idx="150">
                  <c:v>77216</c:v>
                </c:pt>
                <c:pt idx="151">
                  <c:v>77506</c:v>
                </c:pt>
                <c:pt idx="152">
                  <c:v>77834</c:v>
                </c:pt>
                <c:pt idx="153">
                  <c:v>78246</c:v>
                </c:pt>
                <c:pt idx="154">
                  <c:v>78621</c:v>
                </c:pt>
                <c:pt idx="155">
                  <c:v>79058</c:v>
                </c:pt>
                <c:pt idx="156">
                  <c:v>79243</c:v>
                </c:pt>
                <c:pt idx="157">
                  <c:v>79408</c:v>
                </c:pt>
                <c:pt idx="158">
                  <c:v>79748</c:v>
                </c:pt>
                <c:pt idx="159">
                  <c:v>80121</c:v>
                </c:pt>
                <c:pt idx="160">
                  <c:v>80574</c:v>
                </c:pt>
                <c:pt idx="161">
                  <c:v>80990</c:v>
                </c:pt>
                <c:pt idx="162">
                  <c:v>81453</c:v>
                </c:pt>
                <c:pt idx="163">
                  <c:v>81710</c:v>
                </c:pt>
                <c:pt idx="164">
                  <c:v>81950</c:v>
                </c:pt>
                <c:pt idx="165">
                  <c:v>82426</c:v>
                </c:pt>
                <c:pt idx="166">
                  <c:v>82971</c:v>
                </c:pt>
                <c:pt idx="167">
                  <c:v>83454</c:v>
                </c:pt>
                <c:pt idx="168">
                  <c:v>83888</c:v>
                </c:pt>
                <c:pt idx="169">
                  <c:v>84348</c:v>
                </c:pt>
                <c:pt idx="170">
                  <c:v>84636</c:v>
                </c:pt>
                <c:pt idx="171">
                  <c:v>84862</c:v>
                </c:pt>
                <c:pt idx="172">
                  <c:v>85218</c:v>
                </c:pt>
                <c:pt idx="173">
                  <c:v>85646</c:v>
                </c:pt>
                <c:pt idx="174">
                  <c:v>86035</c:v>
                </c:pt>
                <c:pt idx="175">
                  <c:v>86400</c:v>
                </c:pt>
                <c:pt idx="176">
                  <c:v>86777</c:v>
                </c:pt>
                <c:pt idx="177">
                  <c:v>86964</c:v>
                </c:pt>
                <c:pt idx="178">
                  <c:v>87106</c:v>
                </c:pt>
                <c:pt idx="179">
                  <c:v>87398</c:v>
                </c:pt>
                <c:pt idx="180">
                  <c:v>87715</c:v>
                </c:pt>
                <c:pt idx="181">
                  <c:v>87970</c:v>
                </c:pt>
                <c:pt idx="182">
                  <c:v>88260</c:v>
                </c:pt>
                <c:pt idx="183">
                  <c:v>88514</c:v>
                </c:pt>
                <c:pt idx="184">
                  <c:v>88665</c:v>
                </c:pt>
                <c:pt idx="185">
                  <c:v>88774</c:v>
                </c:pt>
                <c:pt idx="186">
                  <c:v>89045</c:v>
                </c:pt>
                <c:pt idx="187">
                  <c:v>89291</c:v>
                </c:pt>
                <c:pt idx="188">
                  <c:v>89533</c:v>
                </c:pt>
                <c:pt idx="189">
                  <c:v>89710</c:v>
                </c:pt>
                <c:pt idx="190">
                  <c:v>89943</c:v>
                </c:pt>
                <c:pt idx="191">
                  <c:v>89996</c:v>
                </c:pt>
                <c:pt idx="192">
                  <c:v>90055</c:v>
                </c:pt>
                <c:pt idx="193">
                  <c:v>90113</c:v>
                </c:pt>
                <c:pt idx="194">
                  <c:v>90170</c:v>
                </c:pt>
                <c:pt idx="195">
                  <c:v>90379</c:v>
                </c:pt>
                <c:pt idx="196">
                  <c:v>90593</c:v>
                </c:pt>
                <c:pt idx="197">
                  <c:v>90819</c:v>
                </c:pt>
                <c:pt idx="198">
                  <c:v>90911</c:v>
                </c:pt>
                <c:pt idx="199">
                  <c:v>90969</c:v>
                </c:pt>
                <c:pt idx="200">
                  <c:v>91205</c:v>
                </c:pt>
                <c:pt idx="201">
                  <c:v>91423</c:v>
                </c:pt>
                <c:pt idx="202">
                  <c:v>91658</c:v>
                </c:pt>
                <c:pt idx="203">
                  <c:v>91904</c:v>
                </c:pt>
                <c:pt idx="204">
                  <c:v>92153</c:v>
                </c:pt>
                <c:pt idx="205">
                  <c:v>92262</c:v>
                </c:pt>
                <c:pt idx="206">
                  <c:v>92331</c:v>
                </c:pt>
                <c:pt idx="207">
                  <c:v>92532</c:v>
                </c:pt>
                <c:pt idx="208">
                  <c:v>92692</c:v>
                </c:pt>
                <c:pt idx="209">
                  <c:v>92912</c:v>
                </c:pt>
                <c:pt idx="210">
                  <c:v>93093</c:v>
                </c:pt>
                <c:pt idx="211">
                  <c:v>93305</c:v>
                </c:pt>
                <c:pt idx="212">
                  <c:v>93367</c:v>
                </c:pt>
                <c:pt idx="213">
                  <c:v>93421</c:v>
                </c:pt>
                <c:pt idx="214">
                  <c:v>93601</c:v>
                </c:pt>
                <c:pt idx="215">
                  <c:v>93801</c:v>
                </c:pt>
                <c:pt idx="216">
                  <c:v>93976</c:v>
                </c:pt>
                <c:pt idx="217">
                  <c:v>94135</c:v>
                </c:pt>
                <c:pt idx="218">
                  <c:v>94344</c:v>
                </c:pt>
                <c:pt idx="219">
                  <c:v>94410</c:v>
                </c:pt>
                <c:pt idx="220">
                  <c:v>94459</c:v>
                </c:pt>
                <c:pt idx="221">
                  <c:v>94605</c:v>
                </c:pt>
                <c:pt idx="222">
                  <c:v>94735</c:v>
                </c:pt>
                <c:pt idx="223">
                  <c:v>94879</c:v>
                </c:pt>
                <c:pt idx="224">
                  <c:v>95005</c:v>
                </c:pt>
                <c:pt idx="225">
                  <c:v>95134</c:v>
                </c:pt>
                <c:pt idx="226">
                  <c:v>95172</c:v>
                </c:pt>
                <c:pt idx="227">
                  <c:v>95206</c:v>
                </c:pt>
                <c:pt idx="228">
                  <c:v>95309</c:v>
                </c:pt>
                <c:pt idx="229">
                  <c:v>95424</c:v>
                </c:pt>
                <c:pt idx="230">
                  <c:v>95497</c:v>
                </c:pt>
                <c:pt idx="231">
                  <c:v>95601</c:v>
                </c:pt>
                <c:pt idx="232">
                  <c:v>95705</c:v>
                </c:pt>
                <c:pt idx="233">
                  <c:v>95731</c:v>
                </c:pt>
                <c:pt idx="234">
                  <c:v>95750</c:v>
                </c:pt>
                <c:pt idx="235">
                  <c:v>95831</c:v>
                </c:pt>
                <c:pt idx="236">
                  <c:v>95909</c:v>
                </c:pt>
                <c:pt idx="237">
                  <c:v>95987</c:v>
                </c:pt>
                <c:pt idx="238">
                  <c:v>96059</c:v>
                </c:pt>
                <c:pt idx="239">
                  <c:v>96156</c:v>
                </c:pt>
                <c:pt idx="240">
                  <c:v>96174</c:v>
                </c:pt>
                <c:pt idx="241">
                  <c:v>96193</c:v>
                </c:pt>
                <c:pt idx="242">
                  <c:v>96286</c:v>
                </c:pt>
                <c:pt idx="243">
                  <c:v>96362</c:v>
                </c:pt>
                <c:pt idx="244">
                  <c:v>96437</c:v>
                </c:pt>
                <c:pt idx="245">
                  <c:v>96500</c:v>
                </c:pt>
                <c:pt idx="246">
                  <c:v>96601</c:v>
                </c:pt>
                <c:pt idx="247">
                  <c:v>96627</c:v>
                </c:pt>
                <c:pt idx="248">
                  <c:v>96637</c:v>
                </c:pt>
                <c:pt idx="249">
                  <c:v>96714</c:v>
                </c:pt>
                <c:pt idx="250">
                  <c:v>96792</c:v>
                </c:pt>
                <c:pt idx="251">
                  <c:v>96838</c:v>
                </c:pt>
                <c:pt idx="252">
                  <c:v>96911</c:v>
                </c:pt>
                <c:pt idx="253">
                  <c:v>97005</c:v>
                </c:pt>
                <c:pt idx="254">
                  <c:v>97020</c:v>
                </c:pt>
                <c:pt idx="255">
                  <c:v>97038</c:v>
                </c:pt>
                <c:pt idx="256">
                  <c:v>97102</c:v>
                </c:pt>
                <c:pt idx="257">
                  <c:v>97137</c:v>
                </c:pt>
                <c:pt idx="258">
                  <c:v>97190</c:v>
                </c:pt>
                <c:pt idx="259">
                  <c:v>97249</c:v>
                </c:pt>
                <c:pt idx="260">
                  <c:v>97318</c:v>
                </c:pt>
                <c:pt idx="261">
                  <c:v>97333</c:v>
                </c:pt>
                <c:pt idx="262">
                  <c:v>97346</c:v>
                </c:pt>
                <c:pt idx="263">
                  <c:v>97394</c:v>
                </c:pt>
                <c:pt idx="264">
                  <c:v>97445</c:v>
                </c:pt>
                <c:pt idx="265">
                  <c:v>97489</c:v>
                </c:pt>
                <c:pt idx="266">
                  <c:v>97535</c:v>
                </c:pt>
                <c:pt idx="267">
                  <c:v>97607</c:v>
                </c:pt>
                <c:pt idx="268">
                  <c:v>97626</c:v>
                </c:pt>
                <c:pt idx="269">
                  <c:v>97632</c:v>
                </c:pt>
                <c:pt idx="270">
                  <c:v>97676</c:v>
                </c:pt>
                <c:pt idx="271">
                  <c:v>97723</c:v>
                </c:pt>
                <c:pt idx="272">
                  <c:v>97765</c:v>
                </c:pt>
                <c:pt idx="273">
                  <c:v>97822</c:v>
                </c:pt>
                <c:pt idx="274">
                  <c:v>97891</c:v>
                </c:pt>
                <c:pt idx="275">
                  <c:v>97907</c:v>
                </c:pt>
                <c:pt idx="276">
                  <c:v>97913</c:v>
                </c:pt>
                <c:pt idx="277">
                  <c:v>97955</c:v>
                </c:pt>
                <c:pt idx="278">
                  <c:v>97961</c:v>
                </c:pt>
                <c:pt idx="279">
                  <c:v>97988</c:v>
                </c:pt>
                <c:pt idx="280">
                  <c:v>98034</c:v>
                </c:pt>
                <c:pt idx="281">
                  <c:v>98072</c:v>
                </c:pt>
                <c:pt idx="282">
                  <c:v>98080</c:v>
                </c:pt>
                <c:pt idx="283">
                  <c:v>98087</c:v>
                </c:pt>
                <c:pt idx="284">
                  <c:v>98117</c:v>
                </c:pt>
                <c:pt idx="285">
                  <c:v>98145</c:v>
                </c:pt>
                <c:pt idx="286">
                  <c:v>98182</c:v>
                </c:pt>
                <c:pt idx="287">
                  <c:v>98206</c:v>
                </c:pt>
                <c:pt idx="288">
                  <c:v>98253</c:v>
                </c:pt>
                <c:pt idx="289">
                  <c:v>98262</c:v>
                </c:pt>
                <c:pt idx="290">
                  <c:v>98269</c:v>
                </c:pt>
                <c:pt idx="291">
                  <c:v>98296</c:v>
                </c:pt>
                <c:pt idx="292">
                  <c:v>98342</c:v>
                </c:pt>
                <c:pt idx="293">
                  <c:v>98379</c:v>
                </c:pt>
                <c:pt idx="294">
                  <c:v>98407</c:v>
                </c:pt>
                <c:pt idx="295">
                  <c:v>98464</c:v>
                </c:pt>
                <c:pt idx="296">
                  <c:v>98481</c:v>
                </c:pt>
                <c:pt idx="297">
                  <c:v>98492</c:v>
                </c:pt>
                <c:pt idx="298">
                  <c:v>98549</c:v>
                </c:pt>
                <c:pt idx="299">
                  <c:v>98581</c:v>
                </c:pt>
                <c:pt idx="300">
                  <c:v>98640</c:v>
                </c:pt>
                <c:pt idx="301">
                  <c:v>98740</c:v>
                </c:pt>
                <c:pt idx="302">
                  <c:v>98883</c:v>
                </c:pt>
                <c:pt idx="303">
                  <c:v>98933</c:v>
                </c:pt>
                <c:pt idx="304">
                  <c:v>98967</c:v>
                </c:pt>
                <c:pt idx="305">
                  <c:v>99083</c:v>
                </c:pt>
                <c:pt idx="306">
                  <c:v>99239</c:v>
                </c:pt>
                <c:pt idx="307">
                  <c:v>99409</c:v>
                </c:pt>
                <c:pt idx="308">
                  <c:v>99448</c:v>
                </c:pt>
                <c:pt idx="309">
                  <c:v>99628</c:v>
                </c:pt>
                <c:pt idx="310">
                  <c:v>99678</c:v>
                </c:pt>
                <c:pt idx="311">
                  <c:v>99711</c:v>
                </c:pt>
                <c:pt idx="312">
                  <c:v>99914</c:v>
                </c:pt>
                <c:pt idx="313">
                  <c:v>100087</c:v>
                </c:pt>
                <c:pt idx="314">
                  <c:v>100275</c:v>
                </c:pt>
                <c:pt idx="315">
                  <c:v>100485</c:v>
                </c:pt>
                <c:pt idx="316">
                  <c:v>100737</c:v>
                </c:pt>
                <c:pt idx="317">
                  <c:v>100810</c:v>
                </c:pt>
                <c:pt idx="318">
                  <c:v>100853</c:v>
                </c:pt>
                <c:pt idx="319">
                  <c:v>101035</c:v>
                </c:pt>
                <c:pt idx="320">
                  <c:v>101184</c:v>
                </c:pt>
                <c:pt idx="321">
                  <c:v>101349</c:v>
                </c:pt>
                <c:pt idx="322">
                  <c:v>101532</c:v>
                </c:pt>
                <c:pt idx="323">
                  <c:v>101794</c:v>
                </c:pt>
                <c:pt idx="324">
                  <c:v>101847</c:v>
                </c:pt>
                <c:pt idx="325">
                  <c:v>101886</c:v>
                </c:pt>
                <c:pt idx="326">
                  <c:v>102067</c:v>
                </c:pt>
                <c:pt idx="327">
                  <c:v>102273</c:v>
                </c:pt>
                <c:pt idx="328">
                  <c:v>102312</c:v>
                </c:pt>
                <c:pt idx="329">
                  <c:v>102551</c:v>
                </c:pt>
                <c:pt idx="330">
                  <c:v>102823</c:v>
                </c:pt>
                <c:pt idx="331">
                  <c:v>102901</c:v>
                </c:pt>
                <c:pt idx="332">
                  <c:v>102965</c:v>
                </c:pt>
                <c:pt idx="333">
                  <c:v>103144</c:v>
                </c:pt>
                <c:pt idx="334">
                  <c:v>103333</c:v>
                </c:pt>
                <c:pt idx="335">
                  <c:v>103528</c:v>
                </c:pt>
                <c:pt idx="336">
                  <c:v>103740</c:v>
                </c:pt>
                <c:pt idx="337">
                  <c:v>103961</c:v>
                </c:pt>
                <c:pt idx="338">
                  <c:v>104039</c:v>
                </c:pt>
                <c:pt idx="339">
                  <c:v>104061</c:v>
                </c:pt>
                <c:pt idx="340">
                  <c:v>104229</c:v>
                </c:pt>
                <c:pt idx="341">
                  <c:v>104371</c:v>
                </c:pt>
                <c:pt idx="342">
                  <c:v>104528</c:v>
                </c:pt>
                <c:pt idx="343">
                  <c:v>104642</c:v>
                </c:pt>
                <c:pt idx="344">
                  <c:v>104759</c:v>
                </c:pt>
                <c:pt idx="345">
                  <c:v>104779</c:v>
                </c:pt>
                <c:pt idx="346">
                  <c:v>104787</c:v>
                </c:pt>
                <c:pt idx="347">
                  <c:v>104859</c:v>
                </c:pt>
                <c:pt idx="348">
                  <c:v>104931</c:v>
                </c:pt>
                <c:pt idx="349">
                  <c:v>105017</c:v>
                </c:pt>
                <c:pt idx="350">
                  <c:v>1050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MR$1</c:f>
              <c:strCache>
                <c:ptCount val="351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  <c:pt idx="344">
                  <c:v>3-XII.</c:v>
                </c:pt>
                <c:pt idx="345">
                  <c:v>4-XII.</c:v>
                </c:pt>
                <c:pt idx="346">
                  <c:v>5-XII.</c:v>
                </c:pt>
                <c:pt idx="347">
                  <c:v>6-XII.</c:v>
                </c:pt>
                <c:pt idx="348">
                  <c:v>7-XII.</c:v>
                </c:pt>
                <c:pt idx="349">
                  <c:v>8-XII.</c:v>
                </c:pt>
                <c:pt idx="350">
                  <c:v>9-XII.</c:v>
                </c:pt>
              </c:strCache>
            </c:strRef>
          </c:cat>
          <c:val>
            <c:numRef>
              <c:f>List1!$F$5:$MR$5</c:f>
              <c:numCache>
                <c:formatCode>General</c:formatCode>
                <c:ptCount val="351"/>
                <c:pt idx="3">
                  <c:v>447</c:v>
                </c:pt>
                <c:pt idx="4">
                  <c:v>1179</c:v>
                </c:pt>
                <c:pt idx="5">
                  <c:v>2126</c:v>
                </c:pt>
                <c:pt idx="6">
                  <c:v>3069</c:v>
                </c:pt>
                <c:pt idx="7">
                  <c:v>3407</c:v>
                </c:pt>
                <c:pt idx="8">
                  <c:v>3496</c:v>
                </c:pt>
                <c:pt idx="9">
                  <c:v>3889</c:v>
                </c:pt>
                <c:pt idx="10">
                  <c:v>4202</c:v>
                </c:pt>
                <c:pt idx="11">
                  <c:v>5400</c:v>
                </c:pt>
                <c:pt idx="12">
                  <c:v>6716</c:v>
                </c:pt>
                <c:pt idx="13">
                  <c:v>8212</c:v>
                </c:pt>
                <c:pt idx="14">
                  <c:v>9891</c:v>
                </c:pt>
                <c:pt idx="15">
                  <c:v>11703</c:v>
                </c:pt>
                <c:pt idx="16">
                  <c:v>12112</c:v>
                </c:pt>
                <c:pt idx="17">
                  <c:v>12404</c:v>
                </c:pt>
                <c:pt idx="18">
                  <c:v>14155</c:v>
                </c:pt>
                <c:pt idx="19">
                  <c:v>16106</c:v>
                </c:pt>
                <c:pt idx="20">
                  <c:v>17807</c:v>
                </c:pt>
                <c:pt idx="21">
                  <c:v>19713</c:v>
                </c:pt>
                <c:pt idx="22">
                  <c:v>21519</c:v>
                </c:pt>
                <c:pt idx="23">
                  <c:v>21853</c:v>
                </c:pt>
                <c:pt idx="24">
                  <c:v>22079</c:v>
                </c:pt>
                <c:pt idx="25">
                  <c:v>23639</c:v>
                </c:pt>
                <c:pt idx="26">
                  <c:v>24820</c:v>
                </c:pt>
                <c:pt idx="27">
                  <c:v>25948</c:v>
                </c:pt>
                <c:pt idx="28">
                  <c:v>26950</c:v>
                </c:pt>
                <c:pt idx="29">
                  <c:v>27780</c:v>
                </c:pt>
                <c:pt idx="30">
                  <c:v>27949</c:v>
                </c:pt>
                <c:pt idx="31">
                  <c:v>28031</c:v>
                </c:pt>
                <c:pt idx="32">
                  <c:v>28541</c:v>
                </c:pt>
                <c:pt idx="33">
                  <c:v>29081</c:v>
                </c:pt>
                <c:pt idx="34">
                  <c:v>29480</c:v>
                </c:pt>
                <c:pt idx="35">
                  <c:v>29860</c:v>
                </c:pt>
                <c:pt idx="36">
                  <c:v>30191</c:v>
                </c:pt>
                <c:pt idx="37">
                  <c:v>30216</c:v>
                </c:pt>
                <c:pt idx="38">
                  <c:v>30237</c:v>
                </c:pt>
                <c:pt idx="39">
                  <c:v>30482</c:v>
                </c:pt>
                <c:pt idx="40">
                  <c:v>30718</c:v>
                </c:pt>
                <c:pt idx="41">
                  <c:v>30941</c:v>
                </c:pt>
                <c:pt idx="42">
                  <c:v>31136</c:v>
                </c:pt>
                <c:pt idx="43">
                  <c:v>31411</c:v>
                </c:pt>
                <c:pt idx="44">
                  <c:v>31430</c:v>
                </c:pt>
                <c:pt idx="45">
                  <c:v>31442</c:v>
                </c:pt>
                <c:pt idx="46">
                  <c:v>31578</c:v>
                </c:pt>
                <c:pt idx="47">
                  <c:v>31716</c:v>
                </c:pt>
                <c:pt idx="48">
                  <c:v>31911</c:v>
                </c:pt>
                <c:pt idx="49">
                  <c:v>32142</c:v>
                </c:pt>
                <c:pt idx="50">
                  <c:v>32421</c:v>
                </c:pt>
                <c:pt idx="51">
                  <c:v>32520</c:v>
                </c:pt>
                <c:pt idx="52">
                  <c:v>32585</c:v>
                </c:pt>
                <c:pt idx="53">
                  <c:v>32941</c:v>
                </c:pt>
                <c:pt idx="54">
                  <c:v>33239</c:v>
                </c:pt>
                <c:pt idx="55">
                  <c:v>33500</c:v>
                </c:pt>
                <c:pt idx="56">
                  <c:v>33839</c:v>
                </c:pt>
                <c:pt idx="57">
                  <c:v>34286</c:v>
                </c:pt>
                <c:pt idx="58">
                  <c:v>34392</c:v>
                </c:pt>
                <c:pt idx="59">
                  <c:v>34439</c:v>
                </c:pt>
                <c:pt idx="60">
                  <c:v>34750</c:v>
                </c:pt>
                <c:pt idx="61">
                  <c:v>35231</c:v>
                </c:pt>
                <c:pt idx="62">
                  <c:v>35831</c:v>
                </c:pt>
                <c:pt idx="63">
                  <c:v>36484</c:v>
                </c:pt>
                <c:pt idx="64">
                  <c:v>37028</c:v>
                </c:pt>
                <c:pt idx="65">
                  <c:v>37102</c:v>
                </c:pt>
                <c:pt idx="66">
                  <c:v>37145</c:v>
                </c:pt>
                <c:pt idx="67">
                  <c:v>37693</c:v>
                </c:pt>
                <c:pt idx="68">
                  <c:v>38289</c:v>
                </c:pt>
                <c:pt idx="69">
                  <c:v>38849</c:v>
                </c:pt>
                <c:pt idx="70">
                  <c:v>39392</c:v>
                </c:pt>
                <c:pt idx="71">
                  <c:v>39986</c:v>
                </c:pt>
                <c:pt idx="72">
                  <c:v>40153</c:v>
                </c:pt>
                <c:pt idx="73">
                  <c:v>40261</c:v>
                </c:pt>
                <c:pt idx="74">
                  <c:v>40588</c:v>
                </c:pt>
                <c:pt idx="75">
                  <c:v>40985</c:v>
                </c:pt>
                <c:pt idx="76">
                  <c:v>41390</c:v>
                </c:pt>
                <c:pt idx="77">
                  <c:v>41868</c:v>
                </c:pt>
                <c:pt idx="78">
                  <c:v>42273</c:v>
                </c:pt>
                <c:pt idx="79">
                  <c:v>42412</c:v>
                </c:pt>
                <c:pt idx="80">
                  <c:v>42497</c:v>
                </c:pt>
                <c:pt idx="81">
                  <c:v>42751</c:v>
                </c:pt>
                <c:pt idx="82">
                  <c:v>43113</c:v>
                </c:pt>
                <c:pt idx="83">
                  <c:v>43470</c:v>
                </c:pt>
                <c:pt idx="84">
                  <c:v>43826</c:v>
                </c:pt>
                <c:pt idx="85">
                  <c:v>44155</c:v>
                </c:pt>
                <c:pt idx="86">
                  <c:v>44270</c:v>
                </c:pt>
                <c:pt idx="87">
                  <c:v>44340</c:v>
                </c:pt>
                <c:pt idx="88">
                  <c:v>44513</c:v>
                </c:pt>
                <c:pt idx="89">
                  <c:v>44706</c:v>
                </c:pt>
                <c:pt idx="90">
                  <c:v>44852</c:v>
                </c:pt>
                <c:pt idx="91">
                  <c:v>45046</c:v>
                </c:pt>
                <c:pt idx="92">
                  <c:v>45264</c:v>
                </c:pt>
                <c:pt idx="93">
                  <c:v>45327</c:v>
                </c:pt>
                <c:pt idx="94">
                  <c:v>45369</c:v>
                </c:pt>
                <c:pt idx="95">
                  <c:v>45494</c:v>
                </c:pt>
                <c:pt idx="96">
                  <c:v>45654</c:v>
                </c:pt>
                <c:pt idx="97">
                  <c:v>45814</c:v>
                </c:pt>
                <c:pt idx="98">
                  <c:v>46033</c:v>
                </c:pt>
                <c:pt idx="99">
                  <c:v>46110</c:v>
                </c:pt>
                <c:pt idx="100">
                  <c:v>46130</c:v>
                </c:pt>
                <c:pt idx="101">
                  <c:v>46159</c:v>
                </c:pt>
                <c:pt idx="102">
                  <c:v>46166</c:v>
                </c:pt>
                <c:pt idx="103">
                  <c:v>46256</c:v>
                </c:pt>
                <c:pt idx="104">
                  <c:v>46350</c:v>
                </c:pt>
                <c:pt idx="105">
                  <c:v>46519</c:v>
                </c:pt>
                <c:pt idx="106">
                  <c:v>46720</c:v>
                </c:pt>
                <c:pt idx="107">
                  <c:v>46765</c:v>
                </c:pt>
                <c:pt idx="108">
                  <c:v>46798</c:v>
                </c:pt>
                <c:pt idx="109">
                  <c:v>46934</c:v>
                </c:pt>
                <c:pt idx="110">
                  <c:v>47055</c:v>
                </c:pt>
                <c:pt idx="111">
                  <c:v>47160</c:v>
                </c:pt>
                <c:pt idx="112">
                  <c:v>47316</c:v>
                </c:pt>
                <c:pt idx="113">
                  <c:v>47491</c:v>
                </c:pt>
                <c:pt idx="114">
                  <c:v>47532</c:v>
                </c:pt>
                <c:pt idx="115">
                  <c:v>47587</c:v>
                </c:pt>
                <c:pt idx="116">
                  <c:v>47714</c:v>
                </c:pt>
                <c:pt idx="117">
                  <c:v>47833</c:v>
                </c:pt>
                <c:pt idx="118">
                  <c:v>47967</c:v>
                </c:pt>
                <c:pt idx="119">
                  <c:v>48113</c:v>
                </c:pt>
                <c:pt idx="120">
                  <c:v>48269</c:v>
                </c:pt>
                <c:pt idx="121">
                  <c:v>48325</c:v>
                </c:pt>
                <c:pt idx="122">
                  <c:v>48362</c:v>
                </c:pt>
                <c:pt idx="123">
                  <c:v>48476</c:v>
                </c:pt>
                <c:pt idx="124">
                  <c:v>48596</c:v>
                </c:pt>
                <c:pt idx="125">
                  <c:v>48716</c:v>
                </c:pt>
                <c:pt idx="126">
                  <c:v>48846</c:v>
                </c:pt>
                <c:pt idx="127">
                  <c:v>48984</c:v>
                </c:pt>
                <c:pt idx="128">
                  <c:v>49013</c:v>
                </c:pt>
                <c:pt idx="129">
                  <c:v>49043</c:v>
                </c:pt>
                <c:pt idx="130">
                  <c:v>49164</c:v>
                </c:pt>
                <c:pt idx="131">
                  <c:v>49290</c:v>
                </c:pt>
                <c:pt idx="132">
                  <c:v>49386</c:v>
                </c:pt>
                <c:pt idx="133">
                  <c:v>49503</c:v>
                </c:pt>
                <c:pt idx="134">
                  <c:v>49674</c:v>
                </c:pt>
                <c:pt idx="135">
                  <c:v>49736</c:v>
                </c:pt>
                <c:pt idx="136">
                  <c:v>49768</c:v>
                </c:pt>
                <c:pt idx="137">
                  <c:v>49867</c:v>
                </c:pt>
                <c:pt idx="138">
                  <c:v>49982</c:v>
                </c:pt>
                <c:pt idx="139">
                  <c:v>50114</c:v>
                </c:pt>
                <c:pt idx="140">
                  <c:v>50271</c:v>
                </c:pt>
                <c:pt idx="141">
                  <c:v>50399</c:v>
                </c:pt>
                <c:pt idx="142">
                  <c:v>50470</c:v>
                </c:pt>
                <c:pt idx="143">
                  <c:v>50501</c:v>
                </c:pt>
                <c:pt idx="144">
                  <c:v>50583</c:v>
                </c:pt>
                <c:pt idx="145">
                  <c:v>50675</c:v>
                </c:pt>
                <c:pt idx="146">
                  <c:v>50760</c:v>
                </c:pt>
                <c:pt idx="147">
                  <c:v>50859</c:v>
                </c:pt>
                <c:pt idx="148">
                  <c:v>50966</c:v>
                </c:pt>
                <c:pt idx="149">
                  <c:v>50997</c:v>
                </c:pt>
                <c:pt idx="150">
                  <c:v>51012</c:v>
                </c:pt>
                <c:pt idx="151">
                  <c:v>51062</c:v>
                </c:pt>
                <c:pt idx="152">
                  <c:v>51124</c:v>
                </c:pt>
                <c:pt idx="153">
                  <c:v>51216</c:v>
                </c:pt>
                <c:pt idx="154">
                  <c:v>51297</c:v>
                </c:pt>
                <c:pt idx="155">
                  <c:v>51401</c:v>
                </c:pt>
                <c:pt idx="156">
                  <c:v>51438</c:v>
                </c:pt>
                <c:pt idx="157">
                  <c:v>51471</c:v>
                </c:pt>
                <c:pt idx="158">
                  <c:v>51545</c:v>
                </c:pt>
                <c:pt idx="159">
                  <c:v>51626</c:v>
                </c:pt>
                <c:pt idx="160">
                  <c:v>51722</c:v>
                </c:pt>
                <c:pt idx="161">
                  <c:v>51792</c:v>
                </c:pt>
                <c:pt idx="162">
                  <c:v>51890</c:v>
                </c:pt>
                <c:pt idx="163">
                  <c:v>51917</c:v>
                </c:pt>
                <c:pt idx="164">
                  <c:v>51950</c:v>
                </c:pt>
                <c:pt idx="165">
                  <c:v>52031</c:v>
                </c:pt>
                <c:pt idx="166">
                  <c:v>52127</c:v>
                </c:pt>
                <c:pt idx="167">
                  <c:v>52212</c:v>
                </c:pt>
                <c:pt idx="168">
                  <c:v>52299</c:v>
                </c:pt>
                <c:pt idx="169">
                  <c:v>52394</c:v>
                </c:pt>
                <c:pt idx="170">
                  <c:v>52423</c:v>
                </c:pt>
                <c:pt idx="171">
                  <c:v>52453</c:v>
                </c:pt>
                <c:pt idx="172">
                  <c:v>52523</c:v>
                </c:pt>
                <c:pt idx="173">
                  <c:v>52578</c:v>
                </c:pt>
                <c:pt idx="174">
                  <c:v>52653</c:v>
                </c:pt>
                <c:pt idx="175">
                  <c:v>52729</c:v>
                </c:pt>
                <c:pt idx="176">
                  <c:v>52807</c:v>
                </c:pt>
                <c:pt idx="177">
                  <c:v>52835</c:v>
                </c:pt>
                <c:pt idx="178">
                  <c:v>52860</c:v>
                </c:pt>
                <c:pt idx="179">
                  <c:v>52899</c:v>
                </c:pt>
                <c:pt idx="180">
                  <c:v>52949</c:v>
                </c:pt>
                <c:pt idx="181">
                  <c:v>53002</c:v>
                </c:pt>
                <c:pt idx="182">
                  <c:v>53053</c:v>
                </c:pt>
                <c:pt idx="183">
                  <c:v>53110</c:v>
                </c:pt>
                <c:pt idx="184">
                  <c:v>53124</c:v>
                </c:pt>
                <c:pt idx="185">
                  <c:v>53136</c:v>
                </c:pt>
                <c:pt idx="186">
                  <c:v>53180</c:v>
                </c:pt>
                <c:pt idx="187">
                  <c:v>53226</c:v>
                </c:pt>
                <c:pt idx="188">
                  <c:v>53284</c:v>
                </c:pt>
                <c:pt idx="189">
                  <c:v>53328</c:v>
                </c:pt>
                <c:pt idx="190">
                  <c:v>53383</c:v>
                </c:pt>
                <c:pt idx="191">
                  <c:v>53395</c:v>
                </c:pt>
                <c:pt idx="192">
                  <c:v>53407</c:v>
                </c:pt>
                <c:pt idx="193">
                  <c:v>53413</c:v>
                </c:pt>
                <c:pt idx="194">
                  <c:v>53422</c:v>
                </c:pt>
                <c:pt idx="195">
                  <c:v>53462</c:v>
                </c:pt>
                <c:pt idx="196">
                  <c:v>53517</c:v>
                </c:pt>
                <c:pt idx="197">
                  <c:v>53565</c:v>
                </c:pt>
                <c:pt idx="198">
                  <c:v>53580</c:v>
                </c:pt>
                <c:pt idx="199">
                  <c:v>53594</c:v>
                </c:pt>
                <c:pt idx="200">
                  <c:v>53642</c:v>
                </c:pt>
                <c:pt idx="201">
                  <c:v>53685</c:v>
                </c:pt>
                <c:pt idx="202">
                  <c:v>53731</c:v>
                </c:pt>
                <c:pt idx="203">
                  <c:v>53789</c:v>
                </c:pt>
                <c:pt idx="204">
                  <c:v>53844</c:v>
                </c:pt>
                <c:pt idx="205">
                  <c:v>53866</c:v>
                </c:pt>
                <c:pt idx="206">
                  <c:v>53885</c:v>
                </c:pt>
                <c:pt idx="207">
                  <c:v>53934</c:v>
                </c:pt>
                <c:pt idx="208">
                  <c:v>53979</c:v>
                </c:pt>
                <c:pt idx="209">
                  <c:v>54048</c:v>
                </c:pt>
                <c:pt idx="210">
                  <c:v>54086</c:v>
                </c:pt>
                <c:pt idx="211">
                  <c:v>54119</c:v>
                </c:pt>
                <c:pt idx="212">
                  <c:v>54125</c:v>
                </c:pt>
                <c:pt idx="213">
                  <c:v>54134</c:v>
                </c:pt>
                <c:pt idx="214">
                  <c:v>54174</c:v>
                </c:pt>
                <c:pt idx="215">
                  <c:v>54227</c:v>
                </c:pt>
                <c:pt idx="216">
                  <c:v>54262</c:v>
                </c:pt>
                <c:pt idx="217">
                  <c:v>54290</c:v>
                </c:pt>
                <c:pt idx="218">
                  <c:v>54335</c:v>
                </c:pt>
                <c:pt idx="219">
                  <c:v>54352</c:v>
                </c:pt>
                <c:pt idx="220">
                  <c:v>54365</c:v>
                </c:pt>
                <c:pt idx="221">
                  <c:v>54402</c:v>
                </c:pt>
                <c:pt idx="222">
                  <c:v>54428</c:v>
                </c:pt>
                <c:pt idx="223">
                  <c:v>54468</c:v>
                </c:pt>
                <c:pt idx="224">
                  <c:v>54499</c:v>
                </c:pt>
                <c:pt idx="225">
                  <c:v>54532</c:v>
                </c:pt>
                <c:pt idx="226">
                  <c:v>54545</c:v>
                </c:pt>
                <c:pt idx="227">
                  <c:v>54550</c:v>
                </c:pt>
                <c:pt idx="228">
                  <c:v>54572</c:v>
                </c:pt>
                <c:pt idx="229">
                  <c:v>54587</c:v>
                </c:pt>
                <c:pt idx="230">
                  <c:v>54607</c:v>
                </c:pt>
                <c:pt idx="231">
                  <c:v>54630</c:v>
                </c:pt>
                <c:pt idx="232">
                  <c:v>54655</c:v>
                </c:pt>
                <c:pt idx="233">
                  <c:v>54665</c:v>
                </c:pt>
                <c:pt idx="234">
                  <c:v>54670</c:v>
                </c:pt>
                <c:pt idx="235">
                  <c:v>54687</c:v>
                </c:pt>
                <c:pt idx="236">
                  <c:v>54711</c:v>
                </c:pt>
                <c:pt idx="237">
                  <c:v>54733</c:v>
                </c:pt>
                <c:pt idx="238">
                  <c:v>54755</c:v>
                </c:pt>
                <c:pt idx="239">
                  <c:v>54788</c:v>
                </c:pt>
                <c:pt idx="240">
                  <c:v>54798</c:v>
                </c:pt>
                <c:pt idx="241">
                  <c:v>54801</c:v>
                </c:pt>
                <c:pt idx="242">
                  <c:v>54812</c:v>
                </c:pt>
                <c:pt idx="243">
                  <c:v>54841</c:v>
                </c:pt>
                <c:pt idx="244">
                  <c:v>54865</c:v>
                </c:pt>
                <c:pt idx="245">
                  <c:v>54892</c:v>
                </c:pt>
                <c:pt idx="246">
                  <c:v>54920</c:v>
                </c:pt>
                <c:pt idx="247">
                  <c:v>54923</c:v>
                </c:pt>
                <c:pt idx="248">
                  <c:v>54930</c:v>
                </c:pt>
                <c:pt idx="249">
                  <c:v>54951</c:v>
                </c:pt>
                <c:pt idx="250">
                  <c:v>54976</c:v>
                </c:pt>
                <c:pt idx="251">
                  <c:v>54996</c:v>
                </c:pt>
                <c:pt idx="252">
                  <c:v>55024</c:v>
                </c:pt>
                <c:pt idx="253">
                  <c:v>55050</c:v>
                </c:pt>
                <c:pt idx="254">
                  <c:v>55058</c:v>
                </c:pt>
                <c:pt idx="255">
                  <c:v>55063</c:v>
                </c:pt>
                <c:pt idx="256">
                  <c:v>55076</c:v>
                </c:pt>
                <c:pt idx="257">
                  <c:v>55089</c:v>
                </c:pt>
                <c:pt idx="258">
                  <c:v>55108</c:v>
                </c:pt>
                <c:pt idx="259">
                  <c:v>55136</c:v>
                </c:pt>
                <c:pt idx="260">
                  <c:v>55161</c:v>
                </c:pt>
                <c:pt idx="261">
                  <c:v>55163</c:v>
                </c:pt>
                <c:pt idx="262">
                  <c:v>55166</c:v>
                </c:pt>
                <c:pt idx="263">
                  <c:v>55185</c:v>
                </c:pt>
                <c:pt idx="264">
                  <c:v>55203</c:v>
                </c:pt>
                <c:pt idx="265">
                  <c:v>55218</c:v>
                </c:pt>
                <c:pt idx="266">
                  <c:v>55236</c:v>
                </c:pt>
                <c:pt idx="267">
                  <c:v>55261</c:v>
                </c:pt>
                <c:pt idx="268">
                  <c:v>55266</c:v>
                </c:pt>
                <c:pt idx="269">
                  <c:v>55266</c:v>
                </c:pt>
                <c:pt idx="270">
                  <c:v>55286</c:v>
                </c:pt>
                <c:pt idx="271">
                  <c:v>55294</c:v>
                </c:pt>
                <c:pt idx="272">
                  <c:v>55304</c:v>
                </c:pt>
                <c:pt idx="273">
                  <c:v>55328</c:v>
                </c:pt>
                <c:pt idx="274">
                  <c:v>55354</c:v>
                </c:pt>
                <c:pt idx="275">
                  <c:v>55360</c:v>
                </c:pt>
                <c:pt idx="276">
                  <c:v>55360</c:v>
                </c:pt>
                <c:pt idx="277">
                  <c:v>55372</c:v>
                </c:pt>
                <c:pt idx="278">
                  <c:v>55372</c:v>
                </c:pt>
                <c:pt idx="279">
                  <c:v>55389</c:v>
                </c:pt>
                <c:pt idx="280">
                  <c:v>55404</c:v>
                </c:pt>
                <c:pt idx="281">
                  <c:v>55424</c:v>
                </c:pt>
                <c:pt idx="282">
                  <c:v>55430</c:v>
                </c:pt>
                <c:pt idx="283">
                  <c:v>55430</c:v>
                </c:pt>
                <c:pt idx="284">
                  <c:v>55440</c:v>
                </c:pt>
                <c:pt idx="285">
                  <c:v>55447</c:v>
                </c:pt>
                <c:pt idx="286">
                  <c:v>55459</c:v>
                </c:pt>
                <c:pt idx="287">
                  <c:v>55477</c:v>
                </c:pt>
                <c:pt idx="288">
                  <c:v>55491</c:v>
                </c:pt>
                <c:pt idx="289">
                  <c:v>55497</c:v>
                </c:pt>
                <c:pt idx="290">
                  <c:v>55497</c:v>
                </c:pt>
                <c:pt idx="291">
                  <c:v>55516</c:v>
                </c:pt>
                <c:pt idx="292">
                  <c:v>55534</c:v>
                </c:pt>
                <c:pt idx="293">
                  <c:v>55541</c:v>
                </c:pt>
                <c:pt idx="294">
                  <c:v>55551</c:v>
                </c:pt>
                <c:pt idx="295">
                  <c:v>55568</c:v>
                </c:pt>
                <c:pt idx="296">
                  <c:v>55570</c:v>
                </c:pt>
                <c:pt idx="297">
                  <c:v>55572</c:v>
                </c:pt>
                <c:pt idx="298">
                  <c:v>55593</c:v>
                </c:pt>
                <c:pt idx="299">
                  <c:v>55600</c:v>
                </c:pt>
                <c:pt idx="300">
                  <c:v>55614</c:v>
                </c:pt>
                <c:pt idx="301">
                  <c:v>55639</c:v>
                </c:pt>
                <c:pt idx="302">
                  <c:v>55678</c:v>
                </c:pt>
                <c:pt idx="303">
                  <c:v>55685</c:v>
                </c:pt>
                <c:pt idx="304">
                  <c:v>55691</c:v>
                </c:pt>
                <c:pt idx="305">
                  <c:v>55712</c:v>
                </c:pt>
                <c:pt idx="306">
                  <c:v>55748</c:v>
                </c:pt>
                <c:pt idx="307">
                  <c:v>55795</c:v>
                </c:pt>
                <c:pt idx="308">
                  <c:v>55802</c:v>
                </c:pt>
                <c:pt idx="309">
                  <c:v>55836</c:v>
                </c:pt>
                <c:pt idx="310">
                  <c:v>55848</c:v>
                </c:pt>
                <c:pt idx="311">
                  <c:v>55851</c:v>
                </c:pt>
                <c:pt idx="312">
                  <c:v>55894</c:v>
                </c:pt>
                <c:pt idx="313">
                  <c:v>55933</c:v>
                </c:pt>
                <c:pt idx="314">
                  <c:v>55968</c:v>
                </c:pt>
                <c:pt idx="315">
                  <c:v>56026</c:v>
                </c:pt>
                <c:pt idx="316">
                  <c:v>56088</c:v>
                </c:pt>
                <c:pt idx="317">
                  <c:v>56112</c:v>
                </c:pt>
                <c:pt idx="318">
                  <c:v>56127</c:v>
                </c:pt>
                <c:pt idx="319">
                  <c:v>56157</c:v>
                </c:pt>
                <c:pt idx="320">
                  <c:v>56192</c:v>
                </c:pt>
                <c:pt idx="321">
                  <c:v>56225</c:v>
                </c:pt>
                <c:pt idx="322">
                  <c:v>56258</c:v>
                </c:pt>
                <c:pt idx="323">
                  <c:v>56321</c:v>
                </c:pt>
                <c:pt idx="324">
                  <c:v>56332</c:v>
                </c:pt>
                <c:pt idx="325">
                  <c:v>56341</c:v>
                </c:pt>
                <c:pt idx="326">
                  <c:v>56388</c:v>
                </c:pt>
                <c:pt idx="327">
                  <c:v>56444</c:v>
                </c:pt>
                <c:pt idx="328">
                  <c:v>56458</c:v>
                </c:pt>
                <c:pt idx="329">
                  <c:v>56502</c:v>
                </c:pt>
                <c:pt idx="330">
                  <c:v>56568</c:v>
                </c:pt>
                <c:pt idx="331">
                  <c:v>56594</c:v>
                </c:pt>
                <c:pt idx="332">
                  <c:v>56605</c:v>
                </c:pt>
                <c:pt idx="333">
                  <c:v>56652</c:v>
                </c:pt>
                <c:pt idx="334">
                  <c:v>56705</c:v>
                </c:pt>
                <c:pt idx="335">
                  <c:v>56741</c:v>
                </c:pt>
                <c:pt idx="336">
                  <c:v>56792</c:v>
                </c:pt>
                <c:pt idx="337">
                  <c:v>56852</c:v>
                </c:pt>
                <c:pt idx="338">
                  <c:v>56862</c:v>
                </c:pt>
                <c:pt idx="339">
                  <c:v>56867</c:v>
                </c:pt>
                <c:pt idx="340">
                  <c:v>56896</c:v>
                </c:pt>
                <c:pt idx="341">
                  <c:v>56924</c:v>
                </c:pt>
                <c:pt idx="342">
                  <c:v>56957</c:v>
                </c:pt>
                <c:pt idx="343">
                  <c:v>56980</c:v>
                </c:pt>
                <c:pt idx="344">
                  <c:v>57010</c:v>
                </c:pt>
                <c:pt idx="345">
                  <c:v>57014</c:v>
                </c:pt>
                <c:pt idx="346">
                  <c:v>57016</c:v>
                </c:pt>
                <c:pt idx="347">
                  <c:v>57035</c:v>
                </c:pt>
                <c:pt idx="348">
                  <c:v>57053</c:v>
                </c:pt>
                <c:pt idx="349">
                  <c:v>57076</c:v>
                </c:pt>
                <c:pt idx="350">
                  <c:v>57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06</c:f>
              <c:numCache>
                <c:formatCode>m/d/yyyy</c:formatCode>
                <c:ptCount val="172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</c:numCache>
            </c:numRef>
          </c:cat>
          <c:val>
            <c:numRef>
              <c:f>Sheet1!$B$135:$B$306</c:f>
              <c:numCache>
                <c:formatCode>General</c:formatCode>
                <c:ptCount val="172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7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2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6</c:v>
                </c:pt>
                <c:pt idx="126">
                  <c:v>68</c:v>
                </c:pt>
                <c:pt idx="127">
                  <c:v>77</c:v>
                </c:pt>
                <c:pt idx="128">
                  <c:v>34</c:v>
                </c:pt>
                <c:pt idx="129">
                  <c:v>81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8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6</c:v>
                </c:pt>
                <c:pt idx="141">
                  <c:v>167</c:v>
                </c:pt>
                <c:pt idx="142">
                  <c:v>95</c:v>
                </c:pt>
                <c:pt idx="143">
                  <c:v>162</c:v>
                </c:pt>
                <c:pt idx="144">
                  <c:v>97</c:v>
                </c:pt>
                <c:pt idx="145">
                  <c:v>54</c:v>
                </c:pt>
                <c:pt idx="146">
                  <c:v>159</c:v>
                </c:pt>
                <c:pt idx="147">
                  <c:v>229</c:v>
                </c:pt>
                <c:pt idx="148">
                  <c:v>120</c:v>
                </c:pt>
                <c:pt idx="149">
                  <c:v>167</c:v>
                </c:pt>
                <c:pt idx="150">
                  <c:v>235</c:v>
                </c:pt>
                <c:pt idx="151">
                  <c:v>153</c:v>
                </c:pt>
                <c:pt idx="152">
                  <c:v>85</c:v>
                </c:pt>
                <c:pt idx="153">
                  <c:v>192</c:v>
                </c:pt>
                <c:pt idx="154">
                  <c:v>258</c:v>
                </c:pt>
                <c:pt idx="155">
                  <c:v>141</c:v>
                </c:pt>
                <c:pt idx="156">
                  <c:v>215</c:v>
                </c:pt>
                <c:pt idx="157">
                  <c:v>188</c:v>
                </c:pt>
                <c:pt idx="158">
                  <c:v>107</c:v>
                </c:pt>
                <c:pt idx="159">
                  <c:v>78</c:v>
                </c:pt>
                <c:pt idx="160">
                  <c:v>200</c:v>
                </c:pt>
                <c:pt idx="161">
                  <c:v>164</c:v>
                </c:pt>
                <c:pt idx="162">
                  <c:v>174</c:v>
                </c:pt>
                <c:pt idx="163">
                  <c:v>145</c:v>
                </c:pt>
                <c:pt idx="164">
                  <c:v>145</c:v>
                </c:pt>
                <c:pt idx="165">
                  <c:v>86</c:v>
                </c:pt>
                <c:pt idx="166">
                  <c:v>65</c:v>
                </c:pt>
                <c:pt idx="167">
                  <c:v>168</c:v>
                </c:pt>
                <c:pt idx="168">
                  <c:v>150</c:v>
                </c:pt>
                <c:pt idx="169">
                  <c:v>117</c:v>
                </c:pt>
                <c:pt idx="170">
                  <c:v>120</c:v>
                </c:pt>
                <c:pt idx="171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2:$AC$2</c:f>
              <c:numCache>
                <c:formatCode>General</c:formatCode>
                <c:ptCount val="15"/>
                <c:pt idx="0">
                  <c:v>10.8573193</c:v>
                </c:pt>
                <c:pt idx="1">
                  <c:v>16.0562927</c:v>
                </c:pt>
                <c:pt idx="2">
                  <c:v>36.010032099999997</c:v>
                </c:pt>
                <c:pt idx="3">
                  <c:v>41.864163400000002</c:v>
                </c:pt>
                <c:pt idx="4">
                  <c:v>62.7145729</c:v>
                </c:pt>
                <c:pt idx="5">
                  <c:v>115.4598496</c:v>
                </c:pt>
                <c:pt idx="6">
                  <c:v>241.73320039999999</c:v>
                </c:pt>
                <c:pt idx="7">
                  <c:v>382.14209299999999</c:v>
                </c:pt>
                <c:pt idx="8">
                  <c:v>441.79988400000002</c:v>
                </c:pt>
                <c:pt idx="9">
                  <c:v>371.71297729999998</c:v>
                </c:pt>
                <c:pt idx="10">
                  <c:v>234.73327660000001</c:v>
                </c:pt>
                <c:pt idx="11">
                  <c:v>176.5682266</c:v>
                </c:pt>
                <c:pt idx="12">
                  <c:v>159.69663199999999</c:v>
                </c:pt>
                <c:pt idx="13">
                  <c:v>141.46197749999999</c:v>
                </c:pt>
                <c:pt idx="14">
                  <c:v>164.9179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3:$AC$3</c:f>
              <c:numCache>
                <c:formatCode>General</c:formatCode>
                <c:ptCount val="15"/>
                <c:pt idx="0">
                  <c:v>2.3441614999999998</c:v>
                </c:pt>
                <c:pt idx="1">
                  <c:v>1.9292727999999999</c:v>
                </c:pt>
                <c:pt idx="2">
                  <c:v>3.4424923999999999</c:v>
                </c:pt>
                <c:pt idx="3">
                  <c:v>5.3661724</c:v>
                </c:pt>
                <c:pt idx="4">
                  <c:v>8.1118722999999999</c:v>
                </c:pt>
                <c:pt idx="5">
                  <c:v>8.3845685000000003</c:v>
                </c:pt>
                <c:pt idx="6">
                  <c:v>13.6088834</c:v>
                </c:pt>
                <c:pt idx="7">
                  <c:v>25.707753700000001</c:v>
                </c:pt>
                <c:pt idx="8">
                  <c:v>46.882776499999999</c:v>
                </c:pt>
                <c:pt idx="9">
                  <c:v>83.330468499999995</c:v>
                </c:pt>
                <c:pt idx="10">
                  <c:v>104.4068206</c:v>
                </c:pt>
                <c:pt idx="11">
                  <c:v>133.06729039999999</c:v>
                </c:pt>
                <c:pt idx="12">
                  <c:v>157.7564988</c:v>
                </c:pt>
                <c:pt idx="13">
                  <c:v>126.9815036</c:v>
                </c:pt>
                <c:pt idx="14">
                  <c:v>101.8842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06</c:f>
              <c:numCache>
                <c:formatCode>m/d/yyyy</c:formatCode>
                <c:ptCount val="172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</c:numCache>
            </c:numRef>
          </c:cat>
          <c:val>
            <c:numRef>
              <c:f>Sheet1!$B$135:$B$306</c:f>
              <c:numCache>
                <c:formatCode>General</c:formatCode>
                <c:ptCount val="172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3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6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9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3</c:v>
                </c:pt>
                <c:pt idx="122">
                  <c:v>46</c:v>
                </c:pt>
                <c:pt idx="123">
                  <c:v>28</c:v>
                </c:pt>
                <c:pt idx="124">
                  <c:v>21</c:v>
                </c:pt>
                <c:pt idx="125">
                  <c:v>80</c:v>
                </c:pt>
                <c:pt idx="126">
                  <c:v>86</c:v>
                </c:pt>
                <c:pt idx="127">
                  <c:v>64</c:v>
                </c:pt>
                <c:pt idx="128">
                  <c:v>41</c:v>
                </c:pt>
                <c:pt idx="129">
                  <c:v>82</c:v>
                </c:pt>
                <c:pt idx="130">
                  <c:v>54</c:v>
                </c:pt>
                <c:pt idx="131">
                  <c:v>42</c:v>
                </c:pt>
                <c:pt idx="132">
                  <c:v>135</c:v>
                </c:pt>
                <c:pt idx="133">
                  <c:v>129</c:v>
                </c:pt>
                <c:pt idx="134">
                  <c:v>105</c:v>
                </c:pt>
                <c:pt idx="135">
                  <c:v>115</c:v>
                </c:pt>
                <c:pt idx="136">
                  <c:v>132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49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6</c:v>
                </c:pt>
                <c:pt idx="145">
                  <c:v>53</c:v>
                </c:pt>
                <c:pt idx="146">
                  <c:v>166</c:v>
                </c:pt>
                <c:pt idx="147">
                  <c:v>199</c:v>
                </c:pt>
                <c:pt idx="148">
                  <c:v>140</c:v>
                </c:pt>
                <c:pt idx="149">
                  <c:v>165</c:v>
                </c:pt>
                <c:pt idx="150">
                  <c:v>253</c:v>
                </c:pt>
                <c:pt idx="151">
                  <c:v>125</c:v>
                </c:pt>
                <c:pt idx="152">
                  <c:v>91</c:v>
                </c:pt>
                <c:pt idx="153">
                  <c:v>203</c:v>
                </c:pt>
                <c:pt idx="154">
                  <c:v>215</c:v>
                </c:pt>
                <c:pt idx="155">
                  <c:v>182</c:v>
                </c:pt>
                <c:pt idx="156">
                  <c:v>259</c:v>
                </c:pt>
                <c:pt idx="157">
                  <c:v>156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2</c:v>
                </c:pt>
                <c:pt idx="162">
                  <c:v>170</c:v>
                </c:pt>
                <c:pt idx="163">
                  <c:v>130</c:v>
                </c:pt>
                <c:pt idx="164">
                  <c:v>159</c:v>
                </c:pt>
                <c:pt idx="165">
                  <c:v>99</c:v>
                </c:pt>
                <c:pt idx="166">
                  <c:v>65</c:v>
                </c:pt>
                <c:pt idx="167">
                  <c:v>198</c:v>
                </c:pt>
                <c:pt idx="168">
                  <c:v>163</c:v>
                </c:pt>
                <c:pt idx="169">
                  <c:v>127</c:v>
                </c:pt>
                <c:pt idx="170">
                  <c:v>104</c:v>
                </c:pt>
                <c:pt idx="17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2:$AC$2</c:f>
              <c:numCache>
                <c:formatCode>General</c:formatCode>
                <c:ptCount val="15"/>
                <c:pt idx="0">
                  <c:v>7.0813892999999997</c:v>
                </c:pt>
                <c:pt idx="1">
                  <c:v>20.4135758</c:v>
                </c:pt>
                <c:pt idx="2">
                  <c:v>37.881037399999997</c:v>
                </c:pt>
                <c:pt idx="3">
                  <c:v>44.560493999999998</c:v>
                </c:pt>
                <c:pt idx="4">
                  <c:v>56.181843499999999</c:v>
                </c:pt>
                <c:pt idx="5">
                  <c:v>118.0980933</c:v>
                </c:pt>
                <c:pt idx="6">
                  <c:v>219.74093859999999</c:v>
                </c:pt>
                <c:pt idx="7">
                  <c:v>366.19004589999997</c:v>
                </c:pt>
                <c:pt idx="8">
                  <c:v>386.19500060000001</c:v>
                </c:pt>
                <c:pt idx="9">
                  <c:v>335.96207240000001</c:v>
                </c:pt>
                <c:pt idx="10">
                  <c:v>216.1883479</c:v>
                </c:pt>
                <c:pt idx="11">
                  <c:v>145.3914226</c:v>
                </c:pt>
                <c:pt idx="12">
                  <c:v>121.4388146</c:v>
                </c:pt>
                <c:pt idx="13">
                  <c:v>109.0756231</c:v>
                </c:pt>
                <c:pt idx="14">
                  <c:v>129.3120907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3:$AC$3</c:f>
              <c:numCache>
                <c:formatCode>General</c:formatCode>
                <c:ptCount val="15"/>
                <c:pt idx="0">
                  <c:v>2.3042324000000001</c:v>
                </c:pt>
                <c:pt idx="1">
                  <c:v>3.2274375000000002</c:v>
                </c:pt>
                <c:pt idx="2">
                  <c:v>3.6898892999999999</c:v>
                </c:pt>
                <c:pt idx="3">
                  <c:v>6.3059362999999999</c:v>
                </c:pt>
                <c:pt idx="4">
                  <c:v>7.2316035999999997</c:v>
                </c:pt>
                <c:pt idx="5">
                  <c:v>10.3165963</c:v>
                </c:pt>
                <c:pt idx="6">
                  <c:v>16.952130199999999</c:v>
                </c:pt>
                <c:pt idx="7">
                  <c:v>39.331639699999997</c:v>
                </c:pt>
                <c:pt idx="8">
                  <c:v>58.661891300000001</c:v>
                </c:pt>
                <c:pt idx="9">
                  <c:v>105.08048700000001</c:v>
                </c:pt>
                <c:pt idx="10">
                  <c:v>118.37780619999999</c:v>
                </c:pt>
                <c:pt idx="11">
                  <c:v>157.59061460000001</c:v>
                </c:pt>
                <c:pt idx="12">
                  <c:v>178.91197310000001</c:v>
                </c:pt>
                <c:pt idx="13">
                  <c:v>154.46367380000001</c:v>
                </c:pt>
                <c:pt idx="14">
                  <c:v>120.1270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06</c:f>
              <c:numCache>
                <c:formatCode>m/d/yyyy</c:formatCode>
                <c:ptCount val="172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</c:numCache>
            </c:numRef>
          </c:cat>
          <c:val>
            <c:numRef>
              <c:f>Sheet1!$B$135:$B$306</c:f>
              <c:numCache>
                <c:formatCode>General</c:formatCode>
                <c:ptCount val="172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0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3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9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1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19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18</c:v>
                </c:pt>
                <c:pt idx="122">
                  <c:v>106</c:v>
                </c:pt>
                <c:pt idx="123">
                  <c:v>76</c:v>
                </c:pt>
                <c:pt idx="124">
                  <c:v>44</c:v>
                </c:pt>
                <c:pt idx="125">
                  <c:v>175</c:v>
                </c:pt>
                <c:pt idx="126">
                  <c:v>174</c:v>
                </c:pt>
                <c:pt idx="127">
                  <c:v>164</c:v>
                </c:pt>
                <c:pt idx="128">
                  <c:v>97</c:v>
                </c:pt>
                <c:pt idx="129">
                  <c:v>201</c:v>
                </c:pt>
                <c:pt idx="130">
                  <c:v>139</c:v>
                </c:pt>
                <c:pt idx="131">
                  <c:v>97</c:v>
                </c:pt>
                <c:pt idx="132">
                  <c:v>303</c:v>
                </c:pt>
                <c:pt idx="133">
                  <c:v>271</c:v>
                </c:pt>
                <c:pt idx="134">
                  <c:v>262</c:v>
                </c:pt>
                <c:pt idx="135">
                  <c:v>244</c:v>
                </c:pt>
                <c:pt idx="136">
                  <c:v>285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1</c:v>
                </c:pt>
                <c:pt idx="141">
                  <c:v>358</c:v>
                </c:pt>
                <c:pt idx="142">
                  <c:v>265</c:v>
                </c:pt>
                <c:pt idx="143">
                  <c:v>376</c:v>
                </c:pt>
                <c:pt idx="144">
                  <c:v>243</c:v>
                </c:pt>
                <c:pt idx="145">
                  <c:v>130</c:v>
                </c:pt>
                <c:pt idx="146">
                  <c:v>389</c:v>
                </c:pt>
                <c:pt idx="147">
                  <c:v>490</c:v>
                </c:pt>
                <c:pt idx="148">
                  <c:v>304</c:v>
                </c:pt>
                <c:pt idx="149">
                  <c:v>388</c:v>
                </c:pt>
                <c:pt idx="150">
                  <c:v>572</c:v>
                </c:pt>
                <c:pt idx="151">
                  <c:v>326</c:v>
                </c:pt>
                <c:pt idx="152">
                  <c:v>207</c:v>
                </c:pt>
                <c:pt idx="153">
                  <c:v>458</c:v>
                </c:pt>
                <c:pt idx="154">
                  <c:v>546</c:v>
                </c:pt>
                <c:pt idx="155">
                  <c:v>367</c:v>
                </c:pt>
                <c:pt idx="156">
                  <c:v>544</c:v>
                </c:pt>
                <c:pt idx="157">
                  <c:v>400</c:v>
                </c:pt>
                <c:pt idx="158">
                  <c:v>257</c:v>
                </c:pt>
                <c:pt idx="159">
                  <c:v>203</c:v>
                </c:pt>
                <c:pt idx="160">
                  <c:v>474</c:v>
                </c:pt>
                <c:pt idx="161">
                  <c:v>408</c:v>
                </c:pt>
                <c:pt idx="162">
                  <c:v>399</c:v>
                </c:pt>
                <c:pt idx="163">
                  <c:v>319</c:v>
                </c:pt>
                <c:pt idx="164">
                  <c:v>356</c:v>
                </c:pt>
                <c:pt idx="165">
                  <c:v>212</c:v>
                </c:pt>
                <c:pt idx="166">
                  <c:v>147</c:v>
                </c:pt>
                <c:pt idx="167">
                  <c:v>413</c:v>
                </c:pt>
                <c:pt idx="168">
                  <c:v>357</c:v>
                </c:pt>
                <c:pt idx="169">
                  <c:v>274</c:v>
                </c:pt>
                <c:pt idx="170">
                  <c:v>257</c:v>
                </c:pt>
                <c:pt idx="171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B$2:$B$314</c:f>
              <c:numCache>
                <c:formatCode>General</c:formatCode>
                <c:ptCount val="313"/>
                <c:pt idx="0">
                  <c:v>81.180081180081004</c:v>
                </c:pt>
                <c:pt idx="1">
                  <c:v>64.320315169544003</c:v>
                </c:pt>
                <c:pt idx="2">
                  <c:v>52.980132450330998</c:v>
                </c:pt>
                <c:pt idx="3">
                  <c:v>78.207001584720004</c:v>
                </c:pt>
                <c:pt idx="4">
                  <c:v>53.784572102356002</c:v>
                </c:pt>
                <c:pt idx="5">
                  <c:v>35.365828288501</c:v>
                </c:pt>
                <c:pt idx="6">
                  <c:v>33.484011384562997</c:v>
                </c:pt>
                <c:pt idx="7">
                  <c:v>42.713138561420998</c:v>
                </c:pt>
                <c:pt idx="8">
                  <c:v>50.399912347978002</c:v>
                </c:pt>
                <c:pt idx="9">
                  <c:v>69.681711922315998</c:v>
                </c:pt>
                <c:pt idx="10">
                  <c:v>62.540535532288999</c:v>
                </c:pt>
                <c:pt idx="11">
                  <c:v>64.808813998703002</c:v>
                </c:pt>
                <c:pt idx="12">
                  <c:v>26.542480032816002</c:v>
                </c:pt>
                <c:pt idx="13">
                  <c:v>19.394879751744998</c:v>
                </c:pt>
                <c:pt idx="14">
                  <c:v>60.23642797982</c:v>
                </c:pt>
                <c:pt idx="15">
                  <c:v>89.065856342011998</c:v>
                </c:pt>
                <c:pt idx="16">
                  <c:v>35.425239120363997</c:v>
                </c:pt>
                <c:pt idx="17">
                  <c:v>79.947463095678998</c:v>
                </c:pt>
                <c:pt idx="18">
                  <c:v>68.440159495328004</c:v>
                </c:pt>
                <c:pt idx="19">
                  <c:v>39.034350228199997</c:v>
                </c:pt>
                <c:pt idx="20">
                  <c:v>24.173566205354</c:v>
                </c:pt>
                <c:pt idx="21">
                  <c:v>104.19626787913199</c:v>
                </c:pt>
                <c:pt idx="22">
                  <c:v>98.183603338241994</c:v>
                </c:pt>
                <c:pt idx="23">
                  <c:v>77.865799986458001</c:v>
                </c:pt>
                <c:pt idx="24">
                  <c:v>115.497690046199</c:v>
                </c:pt>
                <c:pt idx="25">
                  <c:v>137.025818548968</c:v>
                </c:pt>
                <c:pt idx="26">
                  <c:v>76.111775578993004</c:v>
                </c:pt>
                <c:pt idx="27">
                  <c:v>58.072009291520999</c:v>
                </c:pt>
                <c:pt idx="28">
                  <c:v>104.050538833147</c:v>
                </c:pt>
                <c:pt idx="29">
                  <c:v>155.23834765817199</c:v>
                </c:pt>
                <c:pt idx="30">
                  <c:v>122.76057850922599</c:v>
                </c:pt>
                <c:pt idx="31">
                  <c:v>70.036185362436996</c:v>
                </c:pt>
                <c:pt idx="32">
                  <c:v>90.708313614133999</c:v>
                </c:pt>
                <c:pt idx="33">
                  <c:v>31.599320614606</c:v>
                </c:pt>
                <c:pt idx="34">
                  <c:v>31.650577623040999</c:v>
                </c:pt>
                <c:pt idx="35">
                  <c:v>79.891347767035995</c:v>
                </c:pt>
                <c:pt idx="36">
                  <c:v>68.781356206504995</c:v>
                </c:pt>
                <c:pt idx="37">
                  <c:v>77.611208692454994</c:v>
                </c:pt>
                <c:pt idx="38">
                  <c:v>24.726973006386999</c:v>
                </c:pt>
                <c:pt idx="39">
                  <c:v>70.859905798007006</c:v>
                </c:pt>
                <c:pt idx="40">
                  <c:v>37.539103232533002</c:v>
                </c:pt>
                <c:pt idx="41">
                  <c:v>16.693794082048999</c:v>
                </c:pt>
                <c:pt idx="42">
                  <c:v>88.205645161289993</c:v>
                </c:pt>
                <c:pt idx="43">
                  <c:v>109.91798427327301</c:v>
                </c:pt>
                <c:pt idx="44">
                  <c:v>29.779630732577999</c:v>
                </c:pt>
                <c:pt idx="45">
                  <c:v>42.799058420713997</c:v>
                </c:pt>
                <c:pt idx="46">
                  <c:v>38.939125167653998</c:v>
                </c:pt>
                <c:pt idx="47">
                  <c:v>21.640337589266</c:v>
                </c:pt>
                <c:pt idx="48">
                  <c:v>21.647833051911</c:v>
                </c:pt>
                <c:pt idx="49">
                  <c:v>30.557010651300001</c:v>
                </c:pt>
                <c:pt idx="50">
                  <c:v>65.922475169200993</c:v>
                </c:pt>
                <c:pt idx="51">
                  <c:v>26.574541589157</c:v>
                </c:pt>
                <c:pt idx="52">
                  <c:v>35.803795202290999</c:v>
                </c:pt>
                <c:pt idx="53">
                  <c:v>36.266376535653997</c:v>
                </c:pt>
                <c:pt idx="54">
                  <c:v>40.883074407194997</c:v>
                </c:pt>
                <c:pt idx="55">
                  <c:v>4.5583006655110001</c:v>
                </c:pt>
                <c:pt idx="56">
                  <c:v>60.073937153419003</c:v>
                </c:pt>
                <c:pt idx="57">
                  <c:v>51.582649472450001</c:v>
                </c:pt>
                <c:pt idx="58">
                  <c:v>23.806122934817999</c:v>
                </c:pt>
                <c:pt idx="59">
                  <c:v>29.017749189920998</c:v>
                </c:pt>
                <c:pt idx="60">
                  <c:v>19.786307874950001</c:v>
                </c:pt>
                <c:pt idx="61">
                  <c:v>14.871362712536</c:v>
                </c:pt>
                <c:pt idx="62">
                  <c:v>19.861959382293001</c:v>
                </c:pt>
                <c:pt idx="63">
                  <c:v>25.195263290501</c:v>
                </c:pt>
                <c:pt idx="64">
                  <c:v>46.080589831548998</c:v>
                </c:pt>
                <c:pt idx="65">
                  <c:v>10.449320794148001</c:v>
                </c:pt>
                <c:pt idx="66">
                  <c:v>5.3313429652920004</c:v>
                </c:pt>
                <c:pt idx="67">
                  <c:v>10.934937124111</c:v>
                </c:pt>
                <c:pt idx="68">
                  <c:v>10.98056440101</c:v>
                </c:pt>
                <c:pt idx="69">
                  <c:v>5.5053952873809999</c:v>
                </c:pt>
                <c:pt idx="70">
                  <c:v>16.789791806581</c:v>
                </c:pt>
                <c:pt idx="71">
                  <c:v>11.407711613049999</c:v>
                </c:pt>
                <c:pt idx="72">
                  <c:v>52.255704581083002</c:v>
                </c:pt>
                <c:pt idx="73">
                  <c:v>17.794649741977</c:v>
                </c:pt>
                <c:pt idx="74">
                  <c:v>17.896557895364001</c:v>
                </c:pt>
                <c:pt idx="75">
                  <c:v>6.0013202904630001</c:v>
                </c:pt>
                <c:pt idx="76">
                  <c:v>12.038764822729</c:v>
                </c:pt>
                <c:pt idx="77">
                  <c:v>36.185996019539999</c:v>
                </c:pt>
                <c:pt idx="78">
                  <c:v>24.582104228121</c:v>
                </c:pt>
                <c:pt idx="79">
                  <c:v>31.166240728043</c:v>
                </c:pt>
                <c:pt idx="80">
                  <c:v>6.3415562178949996</c:v>
                </c:pt>
                <c:pt idx="81">
                  <c:v>19.343606937907001</c:v>
                </c:pt>
                <c:pt idx="82">
                  <c:v>6.4892926670989999</c:v>
                </c:pt>
                <c:pt idx="83">
                  <c:v>6.5108405495139996</c:v>
                </c:pt>
                <c:pt idx="84">
                  <c:v>13.163957085499</c:v>
                </c:pt>
                <c:pt idx="85">
                  <c:v>6.6524747205960004</c:v>
                </c:pt>
                <c:pt idx="86">
                  <c:v>40.414926579549999</c:v>
                </c:pt>
                <c:pt idx="87">
                  <c:v>13.631406761177001</c:v>
                </c:pt>
                <c:pt idx="88">
                  <c:v>20.723956894169</c:v>
                </c:pt>
                <c:pt idx="89">
                  <c:v>6.9223314412289998</c:v>
                </c:pt>
                <c:pt idx="90">
                  <c:v>0</c:v>
                </c:pt>
                <c:pt idx="91">
                  <c:v>6.9808027923209997</c:v>
                </c:pt>
                <c:pt idx="92">
                  <c:v>7.0358122845280002</c:v>
                </c:pt>
                <c:pt idx="93">
                  <c:v>7.0756385763810004</c:v>
                </c:pt>
                <c:pt idx="94">
                  <c:v>0</c:v>
                </c:pt>
                <c:pt idx="95">
                  <c:v>0</c:v>
                </c:pt>
                <c:pt idx="96">
                  <c:v>7.1911405148850003</c:v>
                </c:pt>
                <c:pt idx="97">
                  <c:v>7.1994240460760004</c:v>
                </c:pt>
                <c:pt idx="98">
                  <c:v>0</c:v>
                </c:pt>
                <c:pt idx="99">
                  <c:v>14.477017734345999</c:v>
                </c:pt>
                <c:pt idx="100">
                  <c:v>0</c:v>
                </c:pt>
                <c:pt idx="101">
                  <c:v>14.617745943575001</c:v>
                </c:pt>
                <c:pt idx="102">
                  <c:v>14.698317042697999</c:v>
                </c:pt>
                <c:pt idx="103">
                  <c:v>7.3556454578880004</c:v>
                </c:pt>
                <c:pt idx="104">
                  <c:v>0</c:v>
                </c:pt>
                <c:pt idx="105">
                  <c:v>14.774322227967</c:v>
                </c:pt>
                <c:pt idx="106">
                  <c:v>14.815912289799</c:v>
                </c:pt>
                <c:pt idx="107">
                  <c:v>22.279985146676001</c:v>
                </c:pt>
                <c:pt idx="108">
                  <c:v>7.4465708541210001</c:v>
                </c:pt>
                <c:pt idx="109">
                  <c:v>7.4883929908639999</c:v>
                </c:pt>
                <c:pt idx="110">
                  <c:v>0</c:v>
                </c:pt>
                <c:pt idx="111">
                  <c:v>7.5137125253579997</c:v>
                </c:pt>
                <c:pt idx="112">
                  <c:v>0</c:v>
                </c:pt>
                <c:pt idx="113">
                  <c:v>7.5631523218870003</c:v>
                </c:pt>
                <c:pt idx="114">
                  <c:v>15.175658244176001</c:v>
                </c:pt>
                <c:pt idx="115">
                  <c:v>0</c:v>
                </c:pt>
                <c:pt idx="116">
                  <c:v>15.299877600979</c:v>
                </c:pt>
                <c:pt idx="117">
                  <c:v>0</c:v>
                </c:pt>
                <c:pt idx="118">
                  <c:v>7.7142636735319998</c:v>
                </c:pt>
                <c:pt idx="119">
                  <c:v>0</c:v>
                </c:pt>
                <c:pt idx="120">
                  <c:v>15.676438313215</c:v>
                </c:pt>
                <c:pt idx="121">
                  <c:v>0</c:v>
                </c:pt>
                <c:pt idx="122">
                  <c:v>7.996161842314999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67270288397</c:v>
                </c:pt>
                <c:pt idx="131">
                  <c:v>0</c:v>
                </c:pt>
                <c:pt idx="132">
                  <c:v>0</c:v>
                </c:pt>
                <c:pt idx="133">
                  <c:v>8.5719183953360005</c:v>
                </c:pt>
                <c:pt idx="135">
                  <c:v>0</c:v>
                </c:pt>
                <c:pt idx="136">
                  <c:v>0</c:v>
                </c:pt>
                <c:pt idx="137">
                  <c:v>8.8417329796640001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71507704703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597322348094</c:v>
                </c:pt>
                <c:pt idx="167">
                  <c:v>0</c:v>
                </c:pt>
                <c:pt idx="168">
                  <c:v>20.607934054611</c:v>
                </c:pt>
                <c:pt idx="169">
                  <c:v>0</c:v>
                </c:pt>
                <c:pt idx="170">
                  <c:v>10.368066355624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516352928804</c:v>
                </c:pt>
                <c:pt idx="175">
                  <c:v>10.569707219110001</c:v>
                </c:pt>
                <c:pt idx="176">
                  <c:v>10.623605651758</c:v>
                </c:pt>
                <c:pt idx="177">
                  <c:v>0</c:v>
                </c:pt>
                <c:pt idx="178">
                  <c:v>21.473051320591999</c:v>
                </c:pt>
                <c:pt idx="179">
                  <c:v>21.60527168629100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081992506060999</c:v>
                </c:pt>
                <c:pt idx="185">
                  <c:v>0</c:v>
                </c:pt>
                <c:pt idx="186">
                  <c:v>22.232103156958001</c:v>
                </c:pt>
                <c:pt idx="187">
                  <c:v>0</c:v>
                </c:pt>
                <c:pt idx="188">
                  <c:v>11.140819964348999</c:v>
                </c:pt>
                <c:pt idx="189">
                  <c:v>11.184431271669</c:v>
                </c:pt>
                <c:pt idx="190">
                  <c:v>0</c:v>
                </c:pt>
                <c:pt idx="191">
                  <c:v>22.542831379620999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85453091075299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614401858303999</c:v>
                </c:pt>
                <c:pt idx="201">
                  <c:v>0</c:v>
                </c:pt>
                <c:pt idx="202">
                  <c:v>0</c:v>
                </c:pt>
                <c:pt idx="203">
                  <c:v>11.667250029168001</c:v>
                </c:pt>
                <c:pt idx="204">
                  <c:v>0</c:v>
                </c:pt>
                <c:pt idx="205">
                  <c:v>0</c:v>
                </c:pt>
                <c:pt idx="206">
                  <c:v>11.80637544273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988970147464</c:v>
                </c:pt>
                <c:pt idx="213">
                  <c:v>12.026458208057001</c:v>
                </c:pt>
                <c:pt idx="214">
                  <c:v>0</c:v>
                </c:pt>
                <c:pt idx="215">
                  <c:v>12.072920439454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69891687963</c:v>
                </c:pt>
                <c:pt idx="223">
                  <c:v>0</c:v>
                </c:pt>
                <c:pt idx="224">
                  <c:v>0</c:v>
                </c:pt>
                <c:pt idx="225">
                  <c:v>12.169891687963</c:v>
                </c:pt>
                <c:pt idx="226">
                  <c:v>0</c:v>
                </c:pt>
                <c:pt idx="227">
                  <c:v>0</c:v>
                </c:pt>
                <c:pt idx="228">
                  <c:v>12.168410805548</c:v>
                </c:pt>
                <c:pt idx="229">
                  <c:v>12.150668286755</c:v>
                </c:pt>
                <c:pt idx="230">
                  <c:v>0</c:v>
                </c:pt>
                <c:pt idx="231">
                  <c:v>0</c:v>
                </c:pt>
                <c:pt idx="232">
                  <c:v>12.122681537156</c:v>
                </c:pt>
                <c:pt idx="233">
                  <c:v>24.251242876197001</c:v>
                </c:pt>
                <c:pt idx="234">
                  <c:v>0</c:v>
                </c:pt>
                <c:pt idx="235">
                  <c:v>12.144765606023</c:v>
                </c:pt>
                <c:pt idx="236">
                  <c:v>0</c:v>
                </c:pt>
                <c:pt idx="237">
                  <c:v>12.105072025178</c:v>
                </c:pt>
                <c:pt idx="238">
                  <c:v>24.177949709863999</c:v>
                </c:pt>
                <c:pt idx="239">
                  <c:v>12.0831319478</c:v>
                </c:pt>
                <c:pt idx="240">
                  <c:v>12.07583625166</c:v>
                </c:pt>
                <c:pt idx="241">
                  <c:v>12.086052695189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137395314965</c:v>
                </c:pt>
                <c:pt idx="248">
                  <c:v>12.174336498660001</c:v>
                </c:pt>
                <c:pt idx="249">
                  <c:v>12.210012210012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6.692759295499002</c:v>
                </c:pt>
                <c:pt idx="254">
                  <c:v>12.269938650306001</c:v>
                </c:pt>
                <c:pt idx="255">
                  <c:v>36.864094372080999</c:v>
                </c:pt>
                <c:pt idx="256">
                  <c:v>12.312238364934</c:v>
                </c:pt>
                <c:pt idx="257">
                  <c:v>0</c:v>
                </c:pt>
                <c:pt idx="258">
                  <c:v>24.621445278837001</c:v>
                </c:pt>
                <c:pt idx="259">
                  <c:v>49.279290378218001</c:v>
                </c:pt>
                <c:pt idx="260">
                  <c:v>61.713157245124002</c:v>
                </c:pt>
                <c:pt idx="261">
                  <c:v>24.718823384006001</c:v>
                </c:pt>
                <c:pt idx="262">
                  <c:v>37.151702786377001</c:v>
                </c:pt>
                <c:pt idx="263">
                  <c:v>74.377091855708002</c:v>
                </c:pt>
                <c:pt idx="264">
                  <c:v>86.784031738159996</c:v>
                </c:pt>
                <c:pt idx="265">
                  <c:v>49.584727903805003</c:v>
                </c:pt>
                <c:pt idx="266">
                  <c:v>86.999751429281005</c:v>
                </c:pt>
                <c:pt idx="267">
                  <c:v>37.313432835820002</c:v>
                </c:pt>
                <c:pt idx="268">
                  <c:v>74.682598954442994</c:v>
                </c:pt>
                <c:pt idx="269">
                  <c:v>74.757039621230007</c:v>
                </c:pt>
                <c:pt idx="270">
                  <c:v>99.887626420277002</c:v>
                </c:pt>
                <c:pt idx="271">
                  <c:v>87.445346658337996</c:v>
                </c:pt>
                <c:pt idx="272">
                  <c:v>24.984384759525</c:v>
                </c:pt>
                <c:pt idx="273">
                  <c:v>162.70337922402999</c:v>
                </c:pt>
                <c:pt idx="274">
                  <c:v>150.28177833437601</c:v>
                </c:pt>
                <c:pt idx="275">
                  <c:v>150.54572826495999</c:v>
                </c:pt>
                <c:pt idx="276">
                  <c:v>88.006034699522004</c:v>
                </c:pt>
                <c:pt idx="277">
                  <c:v>163.996467768386</c:v>
                </c:pt>
                <c:pt idx="278">
                  <c:v>37.888355645364001</c:v>
                </c:pt>
                <c:pt idx="279">
                  <c:v>50.543340914833998</c:v>
                </c:pt>
                <c:pt idx="280">
                  <c:v>177.30496453900699</c:v>
                </c:pt>
                <c:pt idx="281">
                  <c:v>76.190476190476005</c:v>
                </c:pt>
                <c:pt idx="282">
                  <c:v>152.88571792585</c:v>
                </c:pt>
                <c:pt idx="283">
                  <c:v>165.752900675761</c:v>
                </c:pt>
                <c:pt idx="284">
                  <c:v>127.746550843127</c:v>
                </c:pt>
                <c:pt idx="285">
                  <c:v>166.24040920716101</c:v>
                </c:pt>
                <c:pt idx="286">
                  <c:v>51.190171487073997</c:v>
                </c:pt>
                <c:pt idx="287">
                  <c:v>256.80534155110399</c:v>
                </c:pt>
                <c:pt idx="288">
                  <c:v>283.14028314028297</c:v>
                </c:pt>
                <c:pt idx="289">
                  <c:v>193.49845201238301</c:v>
                </c:pt>
                <c:pt idx="290">
                  <c:v>258.83266468228197</c:v>
                </c:pt>
                <c:pt idx="291">
                  <c:v>416.23309053069698</c:v>
                </c:pt>
                <c:pt idx="292">
                  <c:v>234.52768729641599</c:v>
                </c:pt>
                <c:pt idx="293">
                  <c:v>156.59663317238599</c:v>
                </c:pt>
                <c:pt idx="294">
                  <c:v>209.31449502877999</c:v>
                </c:pt>
                <c:pt idx="295">
                  <c:v>209.698558322411</c:v>
                </c:pt>
                <c:pt idx="296">
                  <c:v>144.47071184659799</c:v>
                </c:pt>
                <c:pt idx="297">
                  <c:v>329.72830387760399</c:v>
                </c:pt>
                <c:pt idx="298">
                  <c:v>185.30774321641201</c:v>
                </c:pt>
                <c:pt idx="299">
                  <c:v>66.260270341902</c:v>
                </c:pt>
                <c:pt idx="300">
                  <c:v>106.10079575596799</c:v>
                </c:pt>
                <c:pt idx="301">
                  <c:v>186.36847710330099</c:v>
                </c:pt>
                <c:pt idx="302">
                  <c:v>160.47071409467699</c:v>
                </c:pt>
                <c:pt idx="303">
                  <c:v>160.75016744809099</c:v>
                </c:pt>
                <c:pt idx="304">
                  <c:v>147.90910313298301</c:v>
                </c:pt>
                <c:pt idx="305">
                  <c:v>162.271805273833</c:v>
                </c:pt>
                <c:pt idx="306">
                  <c:v>148.95057549085899</c:v>
                </c:pt>
                <c:pt idx="307">
                  <c:v>27.122321670735001</c:v>
                </c:pt>
                <c:pt idx="308">
                  <c:v>136.29548861932599</c:v>
                </c:pt>
                <c:pt idx="309">
                  <c:v>123.16956343232501</c:v>
                </c:pt>
                <c:pt idx="310">
                  <c:v>82.610491532424007</c:v>
                </c:pt>
                <c:pt idx="311">
                  <c:v>138.52334118298899</c:v>
                </c:pt>
                <c:pt idx="312">
                  <c:v>125.488008923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C3-4E3F-BFF5-5996318E7CE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C$2:$C$314</c:f>
              <c:numCache>
                <c:formatCode>General</c:formatCode>
                <c:ptCount val="3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307692307691999</c:v>
                </c:pt>
                <c:pt idx="11">
                  <c:v>10.380982040900999</c:v>
                </c:pt>
                <c:pt idx="12">
                  <c:v>0</c:v>
                </c:pt>
                <c:pt idx="13">
                  <c:v>0</c:v>
                </c:pt>
                <c:pt idx="14">
                  <c:v>8.7397308162900007</c:v>
                </c:pt>
                <c:pt idx="15">
                  <c:v>22.886786695148</c:v>
                </c:pt>
                <c:pt idx="16">
                  <c:v>6.857769853243</c:v>
                </c:pt>
                <c:pt idx="17">
                  <c:v>12.305420537746</c:v>
                </c:pt>
                <c:pt idx="18">
                  <c:v>0</c:v>
                </c:pt>
                <c:pt idx="19">
                  <c:v>11.132138483802001</c:v>
                </c:pt>
                <c:pt idx="20">
                  <c:v>5.5026687943650003</c:v>
                </c:pt>
                <c:pt idx="21">
                  <c:v>15.311590874290999</c:v>
                </c:pt>
                <c:pt idx="22">
                  <c:v>9.6590360282039995</c:v>
                </c:pt>
                <c:pt idx="23">
                  <c:v>13.812154696132</c:v>
                </c:pt>
                <c:pt idx="24">
                  <c:v>13.225763787858</c:v>
                </c:pt>
                <c:pt idx="25">
                  <c:v>8.5034013605440002</c:v>
                </c:pt>
                <c:pt idx="26">
                  <c:v>8.4537999830920008</c:v>
                </c:pt>
                <c:pt idx="27">
                  <c:v>12.661433274246001</c:v>
                </c:pt>
                <c:pt idx="28">
                  <c:v>16.439256945585999</c:v>
                </c:pt>
                <c:pt idx="29">
                  <c:v>4.0278728803310004</c:v>
                </c:pt>
                <c:pt idx="30">
                  <c:v>11.919898283534</c:v>
                </c:pt>
                <c:pt idx="31">
                  <c:v>7.8330004308149999</c:v>
                </c:pt>
                <c:pt idx="32">
                  <c:v>3.8642862663259998</c:v>
                </c:pt>
                <c:pt idx="33">
                  <c:v>7.717240314863</c:v>
                </c:pt>
                <c:pt idx="34">
                  <c:v>0</c:v>
                </c:pt>
                <c:pt idx="35">
                  <c:v>11.451255821055</c:v>
                </c:pt>
                <c:pt idx="36">
                  <c:v>15.085231558304001</c:v>
                </c:pt>
                <c:pt idx="37">
                  <c:v>7.4766355140179996</c:v>
                </c:pt>
                <c:pt idx="38">
                  <c:v>7.4170220656400003</c:v>
                </c:pt>
                <c:pt idx="39">
                  <c:v>3.6712067256499998</c:v>
                </c:pt>
                <c:pt idx="40">
                  <c:v>3.6691861745060002</c:v>
                </c:pt>
                <c:pt idx="41">
                  <c:v>11.001906997212</c:v>
                </c:pt>
                <c:pt idx="42">
                  <c:v>7.2939460247990002</c:v>
                </c:pt>
                <c:pt idx="43">
                  <c:v>14.506419090447</c:v>
                </c:pt>
                <c:pt idx="44">
                  <c:v>10.822120414125999</c:v>
                </c:pt>
                <c:pt idx="45">
                  <c:v>10.767353384538</c:v>
                </c:pt>
                <c:pt idx="46">
                  <c:v>10.671219720413999</c:v>
                </c:pt>
                <c:pt idx="47">
                  <c:v>3.5560613064959998</c:v>
                </c:pt>
                <c:pt idx="48">
                  <c:v>3.5551763367459999</c:v>
                </c:pt>
                <c:pt idx="49">
                  <c:v>10.594716767905</c:v>
                </c:pt>
                <c:pt idx="50">
                  <c:v>7.0249385317869999</c:v>
                </c:pt>
                <c:pt idx="51">
                  <c:v>6.9820212951640004</c:v>
                </c:pt>
                <c:pt idx="52">
                  <c:v>3.4627237785239999</c:v>
                </c:pt>
                <c:pt idx="53">
                  <c:v>10.287007509515</c:v>
                </c:pt>
                <c:pt idx="54">
                  <c:v>10.27115858668799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281861203950008</c:v>
                </c:pt>
                <c:pt idx="59">
                  <c:v>3.2739654269249998</c:v>
                </c:pt>
                <c:pt idx="60">
                  <c:v>0</c:v>
                </c:pt>
                <c:pt idx="61">
                  <c:v>6.4408089656060001</c:v>
                </c:pt>
                <c:pt idx="62">
                  <c:v>0</c:v>
                </c:pt>
                <c:pt idx="63">
                  <c:v>0</c:v>
                </c:pt>
                <c:pt idx="64">
                  <c:v>3.1546736490109999</c:v>
                </c:pt>
                <c:pt idx="65">
                  <c:v>3.116041381029</c:v>
                </c:pt>
                <c:pt idx="66">
                  <c:v>15.395984727183</c:v>
                </c:pt>
                <c:pt idx="67">
                  <c:v>6.070723933829</c:v>
                </c:pt>
                <c:pt idx="68">
                  <c:v>0</c:v>
                </c:pt>
                <c:pt idx="69">
                  <c:v>3.0234315948599999</c:v>
                </c:pt>
                <c:pt idx="70">
                  <c:v>5.9930480642450004</c:v>
                </c:pt>
                <c:pt idx="71">
                  <c:v>2.9664787896760001</c:v>
                </c:pt>
                <c:pt idx="72">
                  <c:v>0</c:v>
                </c:pt>
                <c:pt idx="73">
                  <c:v>0</c:v>
                </c:pt>
                <c:pt idx="74">
                  <c:v>2.8998956037579999</c:v>
                </c:pt>
                <c:pt idx="75">
                  <c:v>5.7826866362110003</c:v>
                </c:pt>
                <c:pt idx="76">
                  <c:v>5.7740054275650001</c:v>
                </c:pt>
                <c:pt idx="77">
                  <c:v>5.7683433317950001</c:v>
                </c:pt>
                <c:pt idx="78">
                  <c:v>0</c:v>
                </c:pt>
                <c:pt idx="79">
                  <c:v>11.359441115497001</c:v>
                </c:pt>
                <c:pt idx="80">
                  <c:v>2.8177745216819998</c:v>
                </c:pt>
                <c:pt idx="81">
                  <c:v>8.3913736678690007</c:v>
                </c:pt>
                <c:pt idx="82">
                  <c:v>0</c:v>
                </c:pt>
                <c:pt idx="83">
                  <c:v>0</c:v>
                </c:pt>
                <c:pt idx="84">
                  <c:v>2.7722333111549999</c:v>
                </c:pt>
                <c:pt idx="85">
                  <c:v>5.5195253208219999</c:v>
                </c:pt>
                <c:pt idx="86">
                  <c:v>2.7455933227170002</c:v>
                </c:pt>
                <c:pt idx="87">
                  <c:v>13.661948740368</c:v>
                </c:pt>
                <c:pt idx="88">
                  <c:v>2.7176867050759999</c:v>
                </c:pt>
                <c:pt idx="89">
                  <c:v>0</c:v>
                </c:pt>
                <c:pt idx="90">
                  <c:v>8.1397872802250006</c:v>
                </c:pt>
                <c:pt idx="91">
                  <c:v>2.7067994802939999</c:v>
                </c:pt>
                <c:pt idx="92">
                  <c:v>5.3973822695990004</c:v>
                </c:pt>
                <c:pt idx="93">
                  <c:v>10.772089516063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78795657519997</c:v>
                </c:pt>
                <c:pt idx="99">
                  <c:v>0</c:v>
                </c:pt>
                <c:pt idx="100">
                  <c:v>0</c:v>
                </c:pt>
                <c:pt idx="101">
                  <c:v>7.9844569238540002</c:v>
                </c:pt>
                <c:pt idx="102">
                  <c:v>0</c:v>
                </c:pt>
                <c:pt idx="103">
                  <c:v>2.655548769153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67630088399998</c:v>
                </c:pt>
                <c:pt idx="108">
                  <c:v>0</c:v>
                </c:pt>
                <c:pt idx="109">
                  <c:v>0</c:v>
                </c:pt>
                <c:pt idx="110">
                  <c:v>2.638800928857</c:v>
                </c:pt>
                <c:pt idx="111">
                  <c:v>0</c:v>
                </c:pt>
                <c:pt idx="112">
                  <c:v>2.6332420476089999</c:v>
                </c:pt>
                <c:pt idx="113">
                  <c:v>0</c:v>
                </c:pt>
                <c:pt idx="114">
                  <c:v>0</c:v>
                </c:pt>
                <c:pt idx="115">
                  <c:v>5.2493438320200001</c:v>
                </c:pt>
                <c:pt idx="116">
                  <c:v>5.2408154708870001</c:v>
                </c:pt>
                <c:pt idx="117">
                  <c:v>0</c:v>
                </c:pt>
                <c:pt idx="118">
                  <c:v>0</c:v>
                </c:pt>
                <c:pt idx="119">
                  <c:v>2.6091948024830001</c:v>
                </c:pt>
                <c:pt idx="120">
                  <c:v>0</c:v>
                </c:pt>
                <c:pt idx="121">
                  <c:v>0</c:v>
                </c:pt>
                <c:pt idx="122">
                  <c:v>2.582778036055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4982762117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599640845240001</c:v>
                </c:pt>
                <c:pt idx="151">
                  <c:v>0</c:v>
                </c:pt>
                <c:pt idx="153">
                  <c:v>2.4512207079119999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623942429250002</c:v>
                </c:pt>
                <c:pt idx="159">
                  <c:v>0</c:v>
                </c:pt>
                <c:pt idx="161">
                  <c:v>4.852719949531000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306579898769998</c:v>
                </c:pt>
                <c:pt idx="166">
                  <c:v>0</c:v>
                </c:pt>
                <c:pt idx="167">
                  <c:v>2.4087098949799999</c:v>
                </c:pt>
                <c:pt idx="168">
                  <c:v>0</c:v>
                </c:pt>
                <c:pt idx="169">
                  <c:v>4.8160277403189999</c:v>
                </c:pt>
                <c:pt idx="170">
                  <c:v>2.4046554128789999</c:v>
                </c:pt>
                <c:pt idx="171">
                  <c:v>9.6082246402920006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64066052409999</c:v>
                </c:pt>
                <c:pt idx="176">
                  <c:v>0</c:v>
                </c:pt>
                <c:pt idx="177">
                  <c:v>2.3870906139589998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86678356470001</c:v>
                </c:pt>
                <c:pt idx="185">
                  <c:v>2.3667518697330001</c:v>
                </c:pt>
                <c:pt idx="186">
                  <c:v>0</c:v>
                </c:pt>
                <c:pt idx="187">
                  <c:v>0</c:v>
                </c:pt>
                <c:pt idx="188">
                  <c:v>4.7264563393590002</c:v>
                </c:pt>
                <c:pt idx="189">
                  <c:v>2.3610520848080001</c:v>
                </c:pt>
                <c:pt idx="190">
                  <c:v>0</c:v>
                </c:pt>
                <c:pt idx="191">
                  <c:v>4.7135349155090003</c:v>
                </c:pt>
                <c:pt idx="192">
                  <c:v>2.3549914042809998</c:v>
                </c:pt>
                <c:pt idx="193">
                  <c:v>2.3523323375120002</c:v>
                </c:pt>
                <c:pt idx="194">
                  <c:v>0</c:v>
                </c:pt>
                <c:pt idx="195">
                  <c:v>0</c:v>
                </c:pt>
                <c:pt idx="196">
                  <c:v>2.3490169364120002</c:v>
                </c:pt>
                <c:pt idx="197">
                  <c:v>0</c:v>
                </c:pt>
                <c:pt idx="198">
                  <c:v>0</c:v>
                </c:pt>
                <c:pt idx="199">
                  <c:v>4.6860356138699997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75955492179998</c:v>
                </c:pt>
                <c:pt idx="204">
                  <c:v>0</c:v>
                </c:pt>
                <c:pt idx="205">
                  <c:v>2.3332866675989998</c:v>
                </c:pt>
                <c:pt idx="206">
                  <c:v>0</c:v>
                </c:pt>
                <c:pt idx="207">
                  <c:v>2.329319140015</c:v>
                </c:pt>
                <c:pt idx="208">
                  <c:v>2.3283429183450002</c:v>
                </c:pt>
                <c:pt idx="209">
                  <c:v>0</c:v>
                </c:pt>
                <c:pt idx="210">
                  <c:v>0</c:v>
                </c:pt>
                <c:pt idx="211">
                  <c:v>9.2971364819629994</c:v>
                </c:pt>
                <c:pt idx="212">
                  <c:v>6.9676700111479999</c:v>
                </c:pt>
                <c:pt idx="213">
                  <c:v>0</c:v>
                </c:pt>
                <c:pt idx="214">
                  <c:v>2.3172285946</c:v>
                </c:pt>
                <c:pt idx="215">
                  <c:v>4.6337055743470001</c:v>
                </c:pt>
                <c:pt idx="216">
                  <c:v>2.3163697852720002</c:v>
                </c:pt>
                <c:pt idx="217">
                  <c:v>0</c:v>
                </c:pt>
                <c:pt idx="218">
                  <c:v>4.6266308873869999</c:v>
                </c:pt>
                <c:pt idx="219">
                  <c:v>0</c:v>
                </c:pt>
                <c:pt idx="220">
                  <c:v>0</c:v>
                </c:pt>
                <c:pt idx="221">
                  <c:v>6.9236095084229996</c:v>
                </c:pt>
                <c:pt idx="222">
                  <c:v>4.6146746654359996</c:v>
                </c:pt>
                <c:pt idx="223">
                  <c:v>0</c:v>
                </c:pt>
                <c:pt idx="224">
                  <c:v>9.2227525304920004</c:v>
                </c:pt>
                <c:pt idx="225">
                  <c:v>2.304784733105</c:v>
                </c:pt>
                <c:pt idx="226">
                  <c:v>0</c:v>
                </c:pt>
                <c:pt idx="227">
                  <c:v>2.3030861354210002</c:v>
                </c:pt>
                <c:pt idx="228">
                  <c:v>2.3022907793249998</c:v>
                </c:pt>
                <c:pt idx="229">
                  <c:v>0</c:v>
                </c:pt>
                <c:pt idx="230">
                  <c:v>2.3019198011139999</c:v>
                </c:pt>
                <c:pt idx="231">
                  <c:v>0</c:v>
                </c:pt>
                <c:pt idx="232">
                  <c:v>4.6010858562620003</c:v>
                </c:pt>
                <c:pt idx="233">
                  <c:v>2.29959067286</c:v>
                </c:pt>
                <c:pt idx="234">
                  <c:v>4.5962219055929996</c:v>
                </c:pt>
                <c:pt idx="235">
                  <c:v>4.5944269600969996</c:v>
                </c:pt>
                <c:pt idx="236">
                  <c:v>0</c:v>
                </c:pt>
                <c:pt idx="237">
                  <c:v>2.2969496508630001</c:v>
                </c:pt>
                <c:pt idx="238">
                  <c:v>9.1867435290869999</c:v>
                </c:pt>
                <c:pt idx="239">
                  <c:v>6.8881592542409997</c:v>
                </c:pt>
                <c:pt idx="240">
                  <c:v>4.5909466531990004</c:v>
                </c:pt>
                <c:pt idx="241">
                  <c:v>18.354096404890999</c:v>
                </c:pt>
                <c:pt idx="242">
                  <c:v>4.5863144377170002</c:v>
                </c:pt>
                <c:pt idx="243">
                  <c:v>11.465260261407</c:v>
                </c:pt>
                <c:pt idx="244">
                  <c:v>2.29299947261</c:v>
                </c:pt>
                <c:pt idx="245">
                  <c:v>0</c:v>
                </c:pt>
                <c:pt idx="246">
                  <c:v>4.5833715280960003</c:v>
                </c:pt>
                <c:pt idx="247">
                  <c:v>9.1654827918059993</c:v>
                </c:pt>
                <c:pt idx="248">
                  <c:v>11.450294272561999</c:v>
                </c:pt>
                <c:pt idx="249">
                  <c:v>11.443742561566999</c:v>
                </c:pt>
                <c:pt idx="250">
                  <c:v>2.2886437497130001</c:v>
                </c:pt>
                <c:pt idx="251">
                  <c:v>2.2884866237949999</c:v>
                </c:pt>
                <c:pt idx="252">
                  <c:v>6.8637320399009996</c:v>
                </c:pt>
                <c:pt idx="253">
                  <c:v>16.015374759768999</c:v>
                </c:pt>
                <c:pt idx="254">
                  <c:v>13.718989367782999</c:v>
                </c:pt>
                <c:pt idx="255">
                  <c:v>9.1434841246249992</c:v>
                </c:pt>
                <c:pt idx="256">
                  <c:v>11.424915455624999</c:v>
                </c:pt>
                <c:pt idx="257">
                  <c:v>11.424915455624999</c:v>
                </c:pt>
                <c:pt idx="258">
                  <c:v>13.709898546750001</c:v>
                </c:pt>
                <c:pt idx="259">
                  <c:v>29.700708247658</c:v>
                </c:pt>
                <c:pt idx="260">
                  <c:v>27.406020189101</c:v>
                </c:pt>
                <c:pt idx="261">
                  <c:v>25.115875516587</c:v>
                </c:pt>
                <c:pt idx="262">
                  <c:v>22.823754964166</c:v>
                </c:pt>
                <c:pt idx="263">
                  <c:v>25.100974374187</c:v>
                </c:pt>
                <c:pt idx="264">
                  <c:v>15.972982840452</c:v>
                </c:pt>
                <c:pt idx="265">
                  <c:v>18.254837531945</c:v>
                </c:pt>
                <c:pt idx="266">
                  <c:v>50.176759037518003</c:v>
                </c:pt>
                <c:pt idx="267">
                  <c:v>38.766760923104002</c:v>
                </c:pt>
                <c:pt idx="268">
                  <c:v>38.761457430798998</c:v>
                </c:pt>
                <c:pt idx="269">
                  <c:v>36.473886976541998</c:v>
                </c:pt>
                <c:pt idx="270">
                  <c:v>68.362045392398002</c:v>
                </c:pt>
                <c:pt idx="271">
                  <c:v>34.177128665497001</c:v>
                </c:pt>
                <c:pt idx="272">
                  <c:v>36.454773296878002</c:v>
                </c:pt>
                <c:pt idx="273">
                  <c:v>100.22322445446601</c:v>
                </c:pt>
                <c:pt idx="274">
                  <c:v>59.218767794100003</c:v>
                </c:pt>
                <c:pt idx="275">
                  <c:v>61.479609262926999</c:v>
                </c:pt>
                <c:pt idx="276">
                  <c:v>45.525938403405</c:v>
                </c:pt>
                <c:pt idx="277">
                  <c:v>63.700063700062998</c:v>
                </c:pt>
                <c:pt idx="278">
                  <c:v>40.943520687850999</c:v>
                </c:pt>
                <c:pt idx="279">
                  <c:v>34.118824492766002</c:v>
                </c:pt>
                <c:pt idx="280">
                  <c:v>88.676671214188005</c:v>
                </c:pt>
                <c:pt idx="281">
                  <c:v>90.911157071751006</c:v>
                </c:pt>
                <c:pt idx="282">
                  <c:v>81.775435567770998</c:v>
                </c:pt>
                <c:pt idx="283">
                  <c:v>81.769863262616994</c:v>
                </c:pt>
                <c:pt idx="284">
                  <c:v>77.204296192011</c:v>
                </c:pt>
                <c:pt idx="285">
                  <c:v>84.004994891587998</c:v>
                </c:pt>
                <c:pt idx="286">
                  <c:v>43.134762077733001</c:v>
                </c:pt>
                <c:pt idx="287">
                  <c:v>99.836630967507006</c:v>
                </c:pt>
                <c:pt idx="288">
                  <c:v>90.727635637814998</c:v>
                </c:pt>
                <c:pt idx="289">
                  <c:v>65.753673136223</c:v>
                </c:pt>
                <c:pt idx="290">
                  <c:v>81.584553324569995</c:v>
                </c:pt>
                <c:pt idx="291">
                  <c:v>117.74562416502501</c:v>
                </c:pt>
                <c:pt idx="292">
                  <c:v>67.913252139267001</c:v>
                </c:pt>
                <c:pt idx="293">
                  <c:v>43.002964941267003</c:v>
                </c:pt>
                <c:pt idx="294">
                  <c:v>106.334841628959</c:v>
                </c:pt>
                <c:pt idx="295">
                  <c:v>128.92427395277301</c:v>
                </c:pt>
                <c:pt idx="296">
                  <c:v>74.616741283406995</c:v>
                </c:pt>
                <c:pt idx="297">
                  <c:v>101.683425601626</c:v>
                </c:pt>
                <c:pt idx="298">
                  <c:v>94.850948509484994</c:v>
                </c:pt>
                <c:pt idx="299">
                  <c:v>63.223970916973002</c:v>
                </c:pt>
                <c:pt idx="300">
                  <c:v>76.766764506659996</c:v>
                </c:pt>
                <c:pt idx="301">
                  <c:v>112.826067334596</c:v>
                </c:pt>
                <c:pt idx="302">
                  <c:v>90.195724722647995</c:v>
                </c:pt>
                <c:pt idx="303">
                  <c:v>96.947287730531002</c:v>
                </c:pt>
                <c:pt idx="304">
                  <c:v>74.362845618224995</c:v>
                </c:pt>
                <c:pt idx="305">
                  <c:v>90.059664527749007</c:v>
                </c:pt>
                <c:pt idx="306">
                  <c:v>36.019810895992002</c:v>
                </c:pt>
                <c:pt idx="307">
                  <c:v>33.763252076439997</c:v>
                </c:pt>
                <c:pt idx="308">
                  <c:v>83.222744551158996</c:v>
                </c:pt>
                <c:pt idx="309">
                  <c:v>78.679974822407999</c:v>
                </c:pt>
                <c:pt idx="310">
                  <c:v>53.903512712245004</c:v>
                </c:pt>
                <c:pt idx="311">
                  <c:v>51.612324125394998</c:v>
                </c:pt>
                <c:pt idx="312">
                  <c:v>51.56257005783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C3-4E3F-BFF5-5996318E7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B$2:$B$314</c:f>
              <c:numCache>
                <c:formatCode>General</c:formatCode>
                <c:ptCount val="313"/>
                <c:pt idx="0">
                  <c:v>125.285072479372</c:v>
                </c:pt>
                <c:pt idx="1">
                  <c:v>111.45742918014599</c:v>
                </c:pt>
                <c:pt idx="2">
                  <c:v>136.21810805973701</c:v>
                </c:pt>
                <c:pt idx="3">
                  <c:v>110.003300099002</c:v>
                </c:pt>
                <c:pt idx="4">
                  <c:v>110.395214869231</c:v>
                </c:pt>
                <c:pt idx="5">
                  <c:v>54.372451291345001</c:v>
                </c:pt>
                <c:pt idx="6">
                  <c:v>30.293238549154999</c:v>
                </c:pt>
                <c:pt idx="7">
                  <c:v>131.686402613311</c:v>
                </c:pt>
                <c:pt idx="8">
                  <c:v>121.18324563947399</c:v>
                </c:pt>
                <c:pt idx="9">
                  <c:v>108.42333522811001</c:v>
                </c:pt>
                <c:pt idx="10">
                  <c:v>116.092831267669</c:v>
                </c:pt>
                <c:pt idx="11">
                  <c:v>112.67481165631899</c:v>
                </c:pt>
                <c:pt idx="12">
                  <c:v>53.149083178315003</c:v>
                </c:pt>
                <c:pt idx="13">
                  <c:v>29.964043148222</c:v>
                </c:pt>
                <c:pt idx="14">
                  <c:v>141.053350017062</c:v>
                </c:pt>
                <c:pt idx="15">
                  <c:v>138.33690899072599</c:v>
                </c:pt>
                <c:pt idx="16">
                  <c:v>137.389124566139</c:v>
                </c:pt>
                <c:pt idx="17">
                  <c:v>133.27520707479599</c:v>
                </c:pt>
                <c:pt idx="18">
                  <c:v>157.54687980325801</c:v>
                </c:pt>
                <c:pt idx="19">
                  <c:v>73.289274050453002</c:v>
                </c:pt>
                <c:pt idx="20">
                  <c:v>42.567462979205999</c:v>
                </c:pt>
                <c:pt idx="21">
                  <c:v>162.49422022590599</c:v>
                </c:pt>
                <c:pt idx="22">
                  <c:v>205.07008809918901</c:v>
                </c:pt>
                <c:pt idx="23">
                  <c:v>170.69309656548899</c:v>
                </c:pt>
                <c:pt idx="24">
                  <c:v>175.468149021589</c:v>
                </c:pt>
                <c:pt idx="25">
                  <c:v>195.85978155200999</c:v>
                </c:pt>
                <c:pt idx="26">
                  <c:v>103.159252095422</c:v>
                </c:pt>
                <c:pt idx="27">
                  <c:v>50.181369808020001</c:v>
                </c:pt>
                <c:pt idx="28">
                  <c:v>166.86254878915801</c:v>
                </c:pt>
                <c:pt idx="29">
                  <c:v>200.673795224842</c:v>
                </c:pt>
                <c:pt idx="30">
                  <c:v>162.54876462938799</c:v>
                </c:pt>
                <c:pt idx="31">
                  <c:v>162.720568476995</c:v>
                </c:pt>
                <c:pt idx="32">
                  <c:v>162.591834276767</c:v>
                </c:pt>
                <c:pt idx="33">
                  <c:v>90.364167595409</c:v>
                </c:pt>
                <c:pt idx="34">
                  <c:v>55.748918922991002</c:v>
                </c:pt>
                <c:pt idx="35">
                  <c:v>157.63068948269799</c:v>
                </c:pt>
                <c:pt idx="36">
                  <c:v>169.44495328814801</c:v>
                </c:pt>
                <c:pt idx="37">
                  <c:v>185.719548133595</c:v>
                </c:pt>
                <c:pt idx="38">
                  <c:v>131.17283950617201</c:v>
                </c:pt>
                <c:pt idx="39">
                  <c:v>161.65635589268501</c:v>
                </c:pt>
                <c:pt idx="40">
                  <c:v>74.617584877501997</c:v>
                </c:pt>
                <c:pt idx="41">
                  <c:v>45.081457530157003</c:v>
                </c:pt>
                <c:pt idx="42">
                  <c:v>154.37392795883301</c:v>
                </c:pt>
                <c:pt idx="43">
                  <c:v>142.45014245014201</c:v>
                </c:pt>
                <c:pt idx="44">
                  <c:v>141.54949514013401</c:v>
                </c:pt>
                <c:pt idx="45">
                  <c:v>127.960063822056</c:v>
                </c:pt>
                <c:pt idx="46">
                  <c:v>119.227406406485</c:v>
                </c:pt>
                <c:pt idx="47">
                  <c:v>44.515103338632002</c:v>
                </c:pt>
                <c:pt idx="48">
                  <c:v>34.980045474058997</c:v>
                </c:pt>
                <c:pt idx="49">
                  <c:v>147.054122310667</c:v>
                </c:pt>
                <c:pt idx="50">
                  <c:v>101.198316574035</c:v>
                </c:pt>
                <c:pt idx="51">
                  <c:v>105.030135569667</c:v>
                </c:pt>
                <c:pt idx="52">
                  <c:v>75.001630470226999</c:v>
                </c:pt>
                <c:pt idx="53">
                  <c:v>87.303156091453999</c:v>
                </c:pt>
                <c:pt idx="54">
                  <c:v>44.520660884477003</c:v>
                </c:pt>
                <c:pt idx="55">
                  <c:v>23.109174342212999</c:v>
                </c:pt>
                <c:pt idx="56">
                  <c:v>86.533981228781997</c:v>
                </c:pt>
                <c:pt idx="57">
                  <c:v>88.894852484862</c:v>
                </c:pt>
                <c:pt idx="58">
                  <c:v>57.569549094971997</c:v>
                </c:pt>
                <c:pt idx="59">
                  <c:v>83.898363125813006</c:v>
                </c:pt>
                <c:pt idx="60">
                  <c:v>43.416345385710002</c:v>
                </c:pt>
                <c:pt idx="61">
                  <c:v>36.499522030068</c:v>
                </c:pt>
                <c:pt idx="62">
                  <c:v>39.988177408417997</c:v>
                </c:pt>
                <c:pt idx="63">
                  <c:v>36.873803796244999</c:v>
                </c:pt>
                <c:pt idx="64">
                  <c:v>113.465118340572</c:v>
                </c:pt>
                <c:pt idx="65">
                  <c:v>85.978362112200998</c:v>
                </c:pt>
                <c:pt idx="66">
                  <c:v>61.683599419448001</c:v>
                </c:pt>
                <c:pt idx="67">
                  <c:v>47.908605122535</c:v>
                </c:pt>
                <c:pt idx="68">
                  <c:v>22.158618779428998</c:v>
                </c:pt>
                <c:pt idx="69">
                  <c:v>14.783604982073999</c:v>
                </c:pt>
                <c:pt idx="70">
                  <c:v>35.523314512208003</c:v>
                </c:pt>
                <c:pt idx="71">
                  <c:v>49.234964399333002</c:v>
                </c:pt>
                <c:pt idx="72">
                  <c:v>44.158586925218003</c:v>
                </c:pt>
                <c:pt idx="73">
                  <c:v>37.123151169379</c:v>
                </c:pt>
                <c:pt idx="74">
                  <c:v>45.202625682951997</c:v>
                </c:pt>
                <c:pt idx="75">
                  <c:v>11.827787415234001</c:v>
                </c:pt>
                <c:pt idx="76">
                  <c:v>9.8816182137979993</c:v>
                </c:pt>
                <c:pt idx="77">
                  <c:v>51.489226869455003</c:v>
                </c:pt>
                <c:pt idx="78">
                  <c:v>46.399031672382002</c:v>
                </c:pt>
                <c:pt idx="79">
                  <c:v>34.784032083154003</c:v>
                </c:pt>
                <c:pt idx="80">
                  <c:v>24.936101240570999</c:v>
                </c:pt>
                <c:pt idx="81">
                  <c:v>19.023864380984001</c:v>
                </c:pt>
                <c:pt idx="82">
                  <c:v>17.001020061203</c:v>
                </c:pt>
                <c:pt idx="83">
                  <c:v>6.3922270519040003</c:v>
                </c:pt>
                <c:pt idx="84">
                  <c:v>21.528988783395999</c:v>
                </c:pt>
                <c:pt idx="85">
                  <c:v>21.788391145197</c:v>
                </c:pt>
                <c:pt idx="86">
                  <c:v>13.232180663373001</c:v>
                </c:pt>
                <c:pt idx="87">
                  <c:v>31.213769731561001</c:v>
                </c:pt>
                <c:pt idx="88">
                  <c:v>27.121708667646001</c:v>
                </c:pt>
                <c:pt idx="89">
                  <c:v>6.7950169875419997</c:v>
                </c:pt>
                <c:pt idx="90">
                  <c:v>6.8112158020200004</c:v>
                </c:pt>
                <c:pt idx="91">
                  <c:v>36.615785980730003</c:v>
                </c:pt>
                <c:pt idx="92">
                  <c:v>18.429357967241</c:v>
                </c:pt>
                <c:pt idx="93">
                  <c:v>16.216466663576998</c:v>
                </c:pt>
                <c:pt idx="94">
                  <c:v>11.661807580174001</c:v>
                </c:pt>
                <c:pt idx="95">
                  <c:v>32.829940906106003</c:v>
                </c:pt>
                <c:pt idx="96">
                  <c:v>11.74039635578</c:v>
                </c:pt>
                <c:pt idx="97">
                  <c:v>7.057329036204</c:v>
                </c:pt>
                <c:pt idx="98">
                  <c:v>23.609405987344999</c:v>
                </c:pt>
                <c:pt idx="99">
                  <c:v>42.663127207224001</c:v>
                </c:pt>
                <c:pt idx="100">
                  <c:v>9.5274390243900005</c:v>
                </c:pt>
                <c:pt idx="101">
                  <c:v>16.750819593671999</c:v>
                </c:pt>
                <c:pt idx="102">
                  <c:v>14.426544842509999</c:v>
                </c:pt>
                <c:pt idx="103">
                  <c:v>0</c:v>
                </c:pt>
                <c:pt idx="104">
                  <c:v>2.4076080414100001</c:v>
                </c:pt>
                <c:pt idx="105">
                  <c:v>9.6515780330080005</c:v>
                </c:pt>
                <c:pt idx="106">
                  <c:v>4.8350054393809998</c:v>
                </c:pt>
                <c:pt idx="107">
                  <c:v>4.8506014745819996</c:v>
                </c:pt>
                <c:pt idx="108">
                  <c:v>9.7392320615510002</c:v>
                </c:pt>
                <c:pt idx="109">
                  <c:v>4.8888997531099996</c:v>
                </c:pt>
                <c:pt idx="110">
                  <c:v>7.3360395167989996</c:v>
                </c:pt>
                <c:pt idx="111">
                  <c:v>0</c:v>
                </c:pt>
                <c:pt idx="112">
                  <c:v>4.9044851516710004</c:v>
                </c:pt>
                <c:pt idx="113">
                  <c:v>12.285616000786</c:v>
                </c:pt>
                <c:pt idx="114">
                  <c:v>14.79946721918</c:v>
                </c:pt>
                <c:pt idx="115">
                  <c:v>7.4246399049639997</c:v>
                </c:pt>
                <c:pt idx="116">
                  <c:v>4.9695614362029996</c:v>
                </c:pt>
                <c:pt idx="117">
                  <c:v>0</c:v>
                </c:pt>
                <c:pt idx="118">
                  <c:v>0</c:v>
                </c:pt>
                <c:pt idx="119">
                  <c:v>7.5127717119100001</c:v>
                </c:pt>
                <c:pt idx="120">
                  <c:v>2.5210507739620001</c:v>
                </c:pt>
                <c:pt idx="121">
                  <c:v>0</c:v>
                </c:pt>
                <c:pt idx="122">
                  <c:v>10.247739092562</c:v>
                </c:pt>
                <c:pt idx="123">
                  <c:v>2.5859839668990001</c:v>
                </c:pt>
                <c:pt idx="124">
                  <c:v>0</c:v>
                </c:pt>
                <c:pt idx="125">
                  <c:v>2.5926213994970002</c:v>
                </c:pt>
                <c:pt idx="126">
                  <c:v>2.6111024074359999</c:v>
                </c:pt>
                <c:pt idx="127">
                  <c:v>0</c:v>
                </c:pt>
                <c:pt idx="128">
                  <c:v>2.6481648217779998</c:v>
                </c:pt>
                <c:pt idx="129">
                  <c:v>2.6745834336300001</c:v>
                </c:pt>
                <c:pt idx="131">
                  <c:v>2.7132624267410002</c:v>
                </c:pt>
                <c:pt idx="132">
                  <c:v>2.7198302825899998</c:v>
                </c:pt>
                <c:pt idx="133">
                  <c:v>2.7367268746570002</c:v>
                </c:pt>
                <c:pt idx="135">
                  <c:v>0</c:v>
                </c:pt>
                <c:pt idx="136">
                  <c:v>5.5937797169539998</c:v>
                </c:pt>
                <c:pt idx="137">
                  <c:v>8.4685956245580005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723389517430004</c:v>
                </c:pt>
                <c:pt idx="143">
                  <c:v>2.906469801778</c:v>
                </c:pt>
                <c:pt idx="145">
                  <c:v>0</c:v>
                </c:pt>
                <c:pt idx="146">
                  <c:v>2.9432540616899998</c:v>
                </c:pt>
                <c:pt idx="147">
                  <c:v>0</c:v>
                </c:pt>
                <c:pt idx="148">
                  <c:v>5.9550394521359999</c:v>
                </c:pt>
                <c:pt idx="150">
                  <c:v>3.0168642712759999</c:v>
                </c:pt>
                <c:pt idx="151">
                  <c:v>3.0384054448220001</c:v>
                </c:pt>
                <c:pt idx="153">
                  <c:v>3.0506406345329999</c:v>
                </c:pt>
                <c:pt idx="154">
                  <c:v>6.1327118851950004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91103763180002</c:v>
                </c:pt>
                <c:pt idx="159">
                  <c:v>3.1535793125190001</c:v>
                </c:pt>
                <c:pt idx="161">
                  <c:v>3.1768219073630002</c:v>
                </c:pt>
                <c:pt idx="162">
                  <c:v>6.3971340839300002</c:v>
                </c:pt>
                <c:pt idx="163">
                  <c:v>3.2229993231699998</c:v>
                </c:pt>
                <c:pt idx="164">
                  <c:v>9.7437396472759996</c:v>
                </c:pt>
                <c:pt idx="165">
                  <c:v>0</c:v>
                </c:pt>
                <c:pt idx="166">
                  <c:v>0</c:v>
                </c:pt>
                <c:pt idx="167">
                  <c:v>6.5567321247089998</c:v>
                </c:pt>
                <c:pt idx="168">
                  <c:v>6.5629717135909997</c:v>
                </c:pt>
                <c:pt idx="169">
                  <c:v>3.2854749153989999</c:v>
                </c:pt>
                <c:pt idx="170">
                  <c:v>9.9186669311639992</c:v>
                </c:pt>
                <c:pt idx="171">
                  <c:v>0</c:v>
                </c:pt>
                <c:pt idx="172">
                  <c:v>6.6851622823139998</c:v>
                </c:pt>
                <c:pt idx="173">
                  <c:v>0</c:v>
                </c:pt>
                <c:pt idx="174">
                  <c:v>3.3539039441909999</c:v>
                </c:pt>
                <c:pt idx="175">
                  <c:v>3.3726812816180001</c:v>
                </c:pt>
                <c:pt idx="176">
                  <c:v>0</c:v>
                </c:pt>
                <c:pt idx="177">
                  <c:v>0</c:v>
                </c:pt>
                <c:pt idx="178">
                  <c:v>6.865538429851</c:v>
                </c:pt>
                <c:pt idx="179">
                  <c:v>0</c:v>
                </c:pt>
                <c:pt idx="180">
                  <c:v>3.4592500345919999</c:v>
                </c:pt>
                <c:pt idx="181">
                  <c:v>0</c:v>
                </c:pt>
                <c:pt idx="182">
                  <c:v>0</c:v>
                </c:pt>
                <c:pt idx="183">
                  <c:v>3.511605857358</c:v>
                </c:pt>
                <c:pt idx="184">
                  <c:v>3.534942910671</c:v>
                </c:pt>
                <c:pt idx="185">
                  <c:v>0</c:v>
                </c:pt>
                <c:pt idx="186">
                  <c:v>3.5833303472239999</c:v>
                </c:pt>
                <c:pt idx="187">
                  <c:v>0</c:v>
                </c:pt>
                <c:pt idx="188">
                  <c:v>0</c:v>
                </c:pt>
                <c:pt idx="189">
                  <c:v>7.2382468966009998</c:v>
                </c:pt>
                <c:pt idx="190">
                  <c:v>3.6413953827099999</c:v>
                </c:pt>
                <c:pt idx="191">
                  <c:v>3.662467037796</c:v>
                </c:pt>
                <c:pt idx="192">
                  <c:v>0</c:v>
                </c:pt>
                <c:pt idx="193">
                  <c:v>7.398912359883</c:v>
                </c:pt>
                <c:pt idx="194">
                  <c:v>7.4170220656400003</c:v>
                </c:pt>
                <c:pt idx="195">
                  <c:v>0</c:v>
                </c:pt>
                <c:pt idx="196">
                  <c:v>7.4582338902140002</c:v>
                </c:pt>
                <c:pt idx="197">
                  <c:v>7.4959709156320002</c:v>
                </c:pt>
                <c:pt idx="198">
                  <c:v>7.5346594333930001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39349180705999</c:v>
                </c:pt>
                <c:pt idx="204">
                  <c:v>0</c:v>
                </c:pt>
                <c:pt idx="205">
                  <c:v>0</c:v>
                </c:pt>
                <c:pt idx="206">
                  <c:v>3.9106800672630002</c:v>
                </c:pt>
                <c:pt idx="207">
                  <c:v>0</c:v>
                </c:pt>
                <c:pt idx="208">
                  <c:v>7.8774272322650001</c:v>
                </c:pt>
                <c:pt idx="209">
                  <c:v>3.9446175693260002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117983640245999</c:v>
                </c:pt>
                <c:pt idx="214">
                  <c:v>8.1073411974539997</c:v>
                </c:pt>
                <c:pt idx="215">
                  <c:v>4.0558079169369998</c:v>
                </c:pt>
                <c:pt idx="216">
                  <c:v>0</c:v>
                </c:pt>
                <c:pt idx="217">
                  <c:v>4.0766408479410003</c:v>
                </c:pt>
                <c:pt idx="218">
                  <c:v>12.286521685709999</c:v>
                </c:pt>
                <c:pt idx="219">
                  <c:v>0</c:v>
                </c:pt>
                <c:pt idx="220">
                  <c:v>8.2572973865649999</c:v>
                </c:pt>
                <c:pt idx="221">
                  <c:v>0</c:v>
                </c:pt>
                <c:pt idx="222">
                  <c:v>0</c:v>
                </c:pt>
                <c:pt idx="223">
                  <c:v>4.1457651009490002</c:v>
                </c:pt>
                <c:pt idx="224">
                  <c:v>8.3097889313610001</c:v>
                </c:pt>
                <c:pt idx="225">
                  <c:v>12.493753123437999</c:v>
                </c:pt>
                <c:pt idx="226">
                  <c:v>8.3444592790380003</c:v>
                </c:pt>
                <c:pt idx="227">
                  <c:v>8.3622527909009996</c:v>
                </c:pt>
                <c:pt idx="228">
                  <c:v>20.951183741881</c:v>
                </c:pt>
                <c:pt idx="229">
                  <c:v>4.1904123365729999</c:v>
                </c:pt>
                <c:pt idx="230">
                  <c:v>0</c:v>
                </c:pt>
                <c:pt idx="231">
                  <c:v>25.193147463889002</c:v>
                </c:pt>
                <c:pt idx="232">
                  <c:v>21.020768519297</c:v>
                </c:pt>
                <c:pt idx="233">
                  <c:v>16.84139615174</c:v>
                </c:pt>
                <c:pt idx="234">
                  <c:v>12.643823492224</c:v>
                </c:pt>
                <c:pt idx="235">
                  <c:v>12.668383936489001</c:v>
                </c:pt>
                <c:pt idx="236">
                  <c:v>16.889039013680001</c:v>
                </c:pt>
                <c:pt idx="237">
                  <c:v>12.663571127057001</c:v>
                </c:pt>
                <c:pt idx="238">
                  <c:v>8.4523708900340004</c:v>
                </c:pt>
                <c:pt idx="239">
                  <c:v>16.937669376693002</c:v>
                </c:pt>
                <c:pt idx="240">
                  <c:v>33.915550279803</c:v>
                </c:pt>
                <c:pt idx="241">
                  <c:v>33.974603983522002</c:v>
                </c:pt>
                <c:pt idx="242">
                  <c:v>25.528655916266001</c:v>
                </c:pt>
                <c:pt idx="243">
                  <c:v>12.769217672597</c:v>
                </c:pt>
                <c:pt idx="244">
                  <c:v>8.51462386649</c:v>
                </c:pt>
                <c:pt idx="245">
                  <c:v>17.061934823407999</c:v>
                </c:pt>
                <c:pt idx="246">
                  <c:v>34.180730613115998</c:v>
                </c:pt>
                <c:pt idx="247">
                  <c:v>21.399529210356999</c:v>
                </c:pt>
                <c:pt idx="248">
                  <c:v>12.862839257385</c:v>
                </c:pt>
                <c:pt idx="249">
                  <c:v>12.888812510739999</c:v>
                </c:pt>
                <c:pt idx="250">
                  <c:v>12.893798083122</c:v>
                </c:pt>
                <c:pt idx="251">
                  <c:v>8.5973434208819999</c:v>
                </c:pt>
                <c:pt idx="252">
                  <c:v>34.442674473672</c:v>
                </c:pt>
                <c:pt idx="253">
                  <c:v>25.835342748879999</c:v>
                </c:pt>
                <c:pt idx="254">
                  <c:v>30.201052722408999</c:v>
                </c:pt>
                <c:pt idx="255">
                  <c:v>47.510041895218002</c:v>
                </c:pt>
                <c:pt idx="256">
                  <c:v>34.596090641757002</c:v>
                </c:pt>
                <c:pt idx="257">
                  <c:v>17.304031839417998</c:v>
                </c:pt>
                <c:pt idx="258">
                  <c:v>30.288607156765</c:v>
                </c:pt>
                <c:pt idx="259">
                  <c:v>86.655112651645993</c:v>
                </c:pt>
                <c:pt idx="260">
                  <c:v>73.759111419644995</c:v>
                </c:pt>
                <c:pt idx="261">
                  <c:v>56.475085798687999</c:v>
                </c:pt>
                <c:pt idx="262">
                  <c:v>108.757123591595</c:v>
                </c:pt>
                <c:pt idx="263">
                  <c:v>117.682953406267</c:v>
                </c:pt>
                <c:pt idx="264">
                  <c:v>43.601482450402997</c:v>
                </c:pt>
                <c:pt idx="265">
                  <c:v>26.165452880379998</c:v>
                </c:pt>
                <c:pt idx="266">
                  <c:v>109.16077198497899</c:v>
                </c:pt>
                <c:pt idx="267">
                  <c:v>126.764873016566</c:v>
                </c:pt>
                <c:pt idx="268">
                  <c:v>161.93977591036401</c:v>
                </c:pt>
                <c:pt idx="269">
                  <c:v>56.985052382413002</c:v>
                </c:pt>
                <c:pt idx="270">
                  <c:v>175.72376224574899</c:v>
                </c:pt>
                <c:pt idx="271">
                  <c:v>136.22780805062399</c:v>
                </c:pt>
                <c:pt idx="272">
                  <c:v>70.323488045006997</c:v>
                </c:pt>
                <c:pt idx="273">
                  <c:v>206.857092557545</c:v>
                </c:pt>
                <c:pt idx="274">
                  <c:v>215.84001409567401</c:v>
                </c:pt>
                <c:pt idx="275">
                  <c:v>247.03339362124399</c:v>
                </c:pt>
                <c:pt idx="276">
                  <c:v>163.52145666681301</c:v>
                </c:pt>
                <c:pt idx="277">
                  <c:v>155.08684863523499</c:v>
                </c:pt>
                <c:pt idx="278">
                  <c:v>137.466187752206</c:v>
                </c:pt>
                <c:pt idx="279">
                  <c:v>39.936102236421</c:v>
                </c:pt>
                <c:pt idx="280">
                  <c:v>271.18342669156198</c:v>
                </c:pt>
                <c:pt idx="281">
                  <c:v>245.25104789084</c:v>
                </c:pt>
                <c:pt idx="282">
                  <c:v>313.14306164444798</c:v>
                </c:pt>
                <c:pt idx="283">
                  <c:v>188.07935157404501</c:v>
                </c:pt>
                <c:pt idx="284">
                  <c:v>305.45323870272199</c:v>
                </c:pt>
                <c:pt idx="285">
                  <c:v>202.35632700782401</c:v>
                </c:pt>
                <c:pt idx="286">
                  <c:v>81.015392924655004</c:v>
                </c:pt>
                <c:pt idx="287">
                  <c:v>338.64631778570401</c:v>
                </c:pt>
                <c:pt idx="288">
                  <c:v>461.83102417821198</c:v>
                </c:pt>
                <c:pt idx="289">
                  <c:v>208.91048639811001</c:v>
                </c:pt>
                <c:pt idx="290">
                  <c:v>305.50362500569901</c:v>
                </c:pt>
                <c:pt idx="291">
                  <c:v>558.94076144225005</c:v>
                </c:pt>
                <c:pt idx="292">
                  <c:v>321.01256534898602</c:v>
                </c:pt>
                <c:pt idx="293">
                  <c:v>119.331742243436</c:v>
                </c:pt>
                <c:pt idx="294">
                  <c:v>386.98977241315703</c:v>
                </c:pt>
                <c:pt idx="295">
                  <c:v>508.083140877598</c:v>
                </c:pt>
                <c:pt idx="296">
                  <c:v>287.47623684332501</c:v>
                </c:pt>
                <c:pt idx="297">
                  <c:v>432.75942298743598</c:v>
                </c:pt>
                <c:pt idx="298">
                  <c:v>336.74757962677103</c:v>
                </c:pt>
                <c:pt idx="299">
                  <c:v>173.26153125731599</c:v>
                </c:pt>
                <c:pt idx="300">
                  <c:v>117.189331083298</c:v>
                </c:pt>
                <c:pt idx="301">
                  <c:v>395.46160726895999</c:v>
                </c:pt>
                <c:pt idx="302">
                  <c:v>345.54577298115998</c:v>
                </c:pt>
                <c:pt idx="303">
                  <c:v>384.17757541263501</c:v>
                </c:pt>
                <c:pt idx="304">
                  <c:v>257.48617203890899</c:v>
                </c:pt>
                <c:pt idx="305">
                  <c:v>287.90786948176498</c:v>
                </c:pt>
                <c:pt idx="306">
                  <c:v>139.490139490139</c:v>
                </c:pt>
                <c:pt idx="307">
                  <c:v>120.44709963384</c:v>
                </c:pt>
                <c:pt idx="308">
                  <c:v>324.65959199496001</c:v>
                </c:pt>
                <c:pt idx="309">
                  <c:v>307.25712056184102</c:v>
                </c:pt>
                <c:pt idx="310">
                  <c:v>225.75579112681501</c:v>
                </c:pt>
                <c:pt idx="311">
                  <c:v>237.03703703703701</c:v>
                </c:pt>
                <c:pt idx="312">
                  <c:v>184.226249751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8-48BB-953D-F4625A5DF8B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C$2:$C$314</c:f>
              <c:numCache>
                <c:formatCode>General</c:formatCode>
                <c:ptCount val="3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303643724695998</c:v>
                </c:pt>
                <c:pt idx="10">
                  <c:v>10.129659643435</c:v>
                </c:pt>
                <c:pt idx="11">
                  <c:v>32.325844512686999</c:v>
                </c:pt>
                <c:pt idx="12">
                  <c:v>0</c:v>
                </c:pt>
                <c:pt idx="13">
                  <c:v>0</c:v>
                </c:pt>
                <c:pt idx="14">
                  <c:v>6.6720042700819997</c:v>
                </c:pt>
                <c:pt idx="15">
                  <c:v>0</c:v>
                </c:pt>
                <c:pt idx="16">
                  <c:v>5.0198283218709996</c:v>
                </c:pt>
                <c:pt idx="17">
                  <c:v>17.690504621643999</c:v>
                </c:pt>
                <c:pt idx="18">
                  <c:v>12.085078955848999</c:v>
                </c:pt>
                <c:pt idx="19">
                  <c:v>0</c:v>
                </c:pt>
                <c:pt idx="20">
                  <c:v>0</c:v>
                </c:pt>
                <c:pt idx="21">
                  <c:v>18.383028787823001</c:v>
                </c:pt>
                <c:pt idx="22">
                  <c:v>17.378006395105999</c:v>
                </c:pt>
                <c:pt idx="23">
                  <c:v>33.061130029424</c:v>
                </c:pt>
                <c:pt idx="24">
                  <c:v>12.636633600808</c:v>
                </c:pt>
                <c:pt idx="25">
                  <c:v>30.355462465470001</c:v>
                </c:pt>
                <c:pt idx="26">
                  <c:v>12.086417887898</c:v>
                </c:pt>
                <c:pt idx="27">
                  <c:v>21.120598618109</c:v>
                </c:pt>
                <c:pt idx="28">
                  <c:v>41.203131437989001</c:v>
                </c:pt>
                <c:pt idx="29">
                  <c:v>17.324016862042999</c:v>
                </c:pt>
                <c:pt idx="30">
                  <c:v>22.702119810437001</c:v>
                </c:pt>
                <c:pt idx="31">
                  <c:v>19.480700192023999</c:v>
                </c:pt>
                <c:pt idx="32">
                  <c:v>35.613511218256001</c:v>
                </c:pt>
                <c:pt idx="33">
                  <c:v>2.7370264944159999</c:v>
                </c:pt>
                <c:pt idx="34">
                  <c:v>8.2027725371169993</c:v>
                </c:pt>
                <c:pt idx="35">
                  <c:v>18.932734698293</c:v>
                </c:pt>
                <c:pt idx="36">
                  <c:v>29.372496662216001</c:v>
                </c:pt>
                <c:pt idx="37">
                  <c:v>2.6445231924680002</c:v>
                </c:pt>
                <c:pt idx="38">
                  <c:v>18.337568438424999</c:v>
                </c:pt>
                <c:pt idx="39">
                  <c:v>23.287706678395999</c:v>
                </c:pt>
                <c:pt idx="40">
                  <c:v>12.932929825922001</c:v>
                </c:pt>
                <c:pt idx="41">
                  <c:v>7.7581525252779997</c:v>
                </c:pt>
                <c:pt idx="42">
                  <c:v>25.72347266881</c:v>
                </c:pt>
                <c:pt idx="43">
                  <c:v>12.777919754662999</c:v>
                </c:pt>
                <c:pt idx="44">
                  <c:v>12.678127694102001</c:v>
                </c:pt>
                <c:pt idx="45">
                  <c:v>10.068719007224001</c:v>
                </c:pt>
                <c:pt idx="46">
                  <c:v>17.442874585731001</c:v>
                </c:pt>
                <c:pt idx="47">
                  <c:v>2.4910322837779999</c:v>
                </c:pt>
                <c:pt idx="48">
                  <c:v>4.980327705563</c:v>
                </c:pt>
                <c:pt idx="49">
                  <c:v>17.285231004764999</c:v>
                </c:pt>
                <c:pt idx="50">
                  <c:v>12.250998456374001</c:v>
                </c:pt>
                <c:pt idx="51">
                  <c:v>19.423132951345</c:v>
                </c:pt>
                <c:pt idx="52">
                  <c:v>11.975761059614999</c:v>
                </c:pt>
                <c:pt idx="53">
                  <c:v>11.797461186352001</c:v>
                </c:pt>
                <c:pt idx="54">
                  <c:v>9.4224064826149991</c:v>
                </c:pt>
                <c:pt idx="55">
                  <c:v>9.4064528266390006</c:v>
                </c:pt>
                <c:pt idx="56">
                  <c:v>13.946353028681999</c:v>
                </c:pt>
                <c:pt idx="57">
                  <c:v>2.2987977287870001</c:v>
                </c:pt>
                <c:pt idx="58">
                  <c:v>9.0762633023980008</c:v>
                </c:pt>
                <c:pt idx="59">
                  <c:v>4.4703726055560002</c:v>
                </c:pt>
                <c:pt idx="60">
                  <c:v>4.3884671084390003</c:v>
                </c:pt>
                <c:pt idx="61">
                  <c:v>8.7652021474739996</c:v>
                </c:pt>
                <c:pt idx="62">
                  <c:v>2.1898129899700001</c:v>
                </c:pt>
                <c:pt idx="63">
                  <c:v>4.3247918693910004</c:v>
                </c:pt>
                <c:pt idx="64">
                  <c:v>14.95566712958</c:v>
                </c:pt>
                <c:pt idx="65">
                  <c:v>4.2198544150219996</c:v>
                </c:pt>
                <c:pt idx="66">
                  <c:v>6.2349322470689996</c:v>
                </c:pt>
                <c:pt idx="67">
                  <c:v>4.0832993058389997</c:v>
                </c:pt>
                <c:pt idx="68">
                  <c:v>6.1089842795470002</c:v>
                </c:pt>
                <c:pt idx="69">
                  <c:v>2.0340913713840001</c:v>
                </c:pt>
                <c:pt idx="70">
                  <c:v>12.04722512248</c:v>
                </c:pt>
                <c:pt idx="71">
                  <c:v>3.9607881968509999</c:v>
                </c:pt>
                <c:pt idx="72">
                  <c:v>7.8077726376600003</c:v>
                </c:pt>
                <c:pt idx="73">
                  <c:v>5.7527469366619997</c:v>
                </c:pt>
                <c:pt idx="74">
                  <c:v>3.8123558452939998</c:v>
                </c:pt>
                <c:pt idx="75">
                  <c:v>3.800186209124</c:v>
                </c:pt>
                <c:pt idx="76">
                  <c:v>1.8949801974560001</c:v>
                </c:pt>
                <c:pt idx="77">
                  <c:v>3.781647663887</c:v>
                </c:pt>
                <c:pt idx="78">
                  <c:v>9.2890185223019994</c:v>
                </c:pt>
                <c:pt idx="79">
                  <c:v>11.001705264315</c:v>
                </c:pt>
                <c:pt idx="80">
                  <c:v>1.8083182640140001</c:v>
                </c:pt>
                <c:pt idx="81">
                  <c:v>3.5632839224619999</c:v>
                </c:pt>
                <c:pt idx="82">
                  <c:v>1.773238287761</c:v>
                </c:pt>
                <c:pt idx="83">
                  <c:v>1.768940935062</c:v>
                </c:pt>
                <c:pt idx="84">
                  <c:v>3.507049168829</c:v>
                </c:pt>
                <c:pt idx="85">
                  <c:v>1.7362919748579999</c:v>
                </c:pt>
                <c:pt idx="86">
                  <c:v>0</c:v>
                </c:pt>
                <c:pt idx="87">
                  <c:v>3.4091877610150001</c:v>
                </c:pt>
                <c:pt idx="88">
                  <c:v>6.747069241798</c:v>
                </c:pt>
                <c:pt idx="89">
                  <c:v>3.367683707146</c:v>
                </c:pt>
                <c:pt idx="90">
                  <c:v>1.6810395548599999</c:v>
                </c:pt>
                <c:pt idx="91">
                  <c:v>5.0142907285760003</c:v>
                </c:pt>
                <c:pt idx="92">
                  <c:v>9.9815341618000009</c:v>
                </c:pt>
                <c:pt idx="93">
                  <c:v>6.6282229734199998</c:v>
                </c:pt>
                <c:pt idx="94">
                  <c:v>3.2984794009959999</c:v>
                </c:pt>
                <c:pt idx="95">
                  <c:v>3.2862846908419998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16141558840001</c:v>
                </c:pt>
                <c:pt idx="100">
                  <c:v>3.2525613920960001</c:v>
                </c:pt>
                <c:pt idx="101">
                  <c:v>3.2425947242980002</c:v>
                </c:pt>
                <c:pt idx="102">
                  <c:v>1.6162399793119999</c:v>
                </c:pt>
                <c:pt idx="103">
                  <c:v>1.6156393892880001</c:v>
                </c:pt>
                <c:pt idx="104">
                  <c:v>0</c:v>
                </c:pt>
                <c:pt idx="105">
                  <c:v>4.8386316349729999</c:v>
                </c:pt>
                <c:pt idx="106">
                  <c:v>1.610980442697</c:v>
                </c:pt>
                <c:pt idx="107">
                  <c:v>1.6076911946750001</c:v>
                </c:pt>
                <c:pt idx="108">
                  <c:v>3.2073898261589999</c:v>
                </c:pt>
                <c:pt idx="109">
                  <c:v>1.5996672692080001</c:v>
                </c:pt>
                <c:pt idx="110">
                  <c:v>0</c:v>
                </c:pt>
                <c:pt idx="111">
                  <c:v>0</c:v>
                </c:pt>
                <c:pt idx="112">
                  <c:v>1.596806387225</c:v>
                </c:pt>
                <c:pt idx="113">
                  <c:v>3.1897926634760001</c:v>
                </c:pt>
                <c:pt idx="114">
                  <c:v>0</c:v>
                </c:pt>
                <c:pt idx="115">
                  <c:v>0</c:v>
                </c:pt>
                <c:pt idx="116">
                  <c:v>1.5838824125690001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6055188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690341343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087902183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1290915769999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021282714</c:v>
                </c:pt>
                <c:pt idx="148">
                  <c:v>0</c:v>
                </c:pt>
                <c:pt idx="150">
                  <c:v>0</c:v>
                </c:pt>
                <c:pt idx="151">
                  <c:v>1.4199301394370001</c:v>
                </c:pt>
                <c:pt idx="153">
                  <c:v>0</c:v>
                </c:pt>
                <c:pt idx="154">
                  <c:v>2.8261361067139998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8888888888</c:v>
                </c:pt>
                <c:pt idx="162">
                  <c:v>1.3845046242450001</c:v>
                </c:pt>
                <c:pt idx="163">
                  <c:v>2.7594199699219999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39110272080004</c:v>
                </c:pt>
                <c:pt idx="169">
                  <c:v>0</c:v>
                </c:pt>
                <c:pt idx="170">
                  <c:v>1.3631964229719999</c:v>
                </c:pt>
                <c:pt idx="171">
                  <c:v>0</c:v>
                </c:pt>
                <c:pt idx="172">
                  <c:v>2.7131888108090001</c:v>
                </c:pt>
                <c:pt idx="173">
                  <c:v>1.3552522802110001</c:v>
                </c:pt>
                <c:pt idx="174">
                  <c:v>0</c:v>
                </c:pt>
                <c:pt idx="175">
                  <c:v>2.701862934493000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399026373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89036544849999</c:v>
                </c:pt>
                <c:pt idx="184">
                  <c:v>0</c:v>
                </c:pt>
                <c:pt idx="185">
                  <c:v>1.322034346451999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1819493637</c:v>
                </c:pt>
                <c:pt idx="191">
                  <c:v>1.309191835879</c:v>
                </c:pt>
                <c:pt idx="192">
                  <c:v>1.3069332810559999</c:v>
                </c:pt>
                <c:pt idx="193">
                  <c:v>0</c:v>
                </c:pt>
                <c:pt idx="194">
                  <c:v>1.3036619865200001</c:v>
                </c:pt>
                <c:pt idx="195">
                  <c:v>1.302931596091</c:v>
                </c:pt>
                <c:pt idx="196">
                  <c:v>1.301303906514</c:v>
                </c:pt>
                <c:pt idx="197">
                  <c:v>1.299106214924</c:v>
                </c:pt>
                <c:pt idx="198">
                  <c:v>0</c:v>
                </c:pt>
                <c:pt idx="199">
                  <c:v>1.2948839136570001</c:v>
                </c:pt>
                <c:pt idx="200">
                  <c:v>0</c:v>
                </c:pt>
                <c:pt idx="201">
                  <c:v>0</c:v>
                </c:pt>
                <c:pt idx="202">
                  <c:v>1.290905570257</c:v>
                </c:pt>
                <c:pt idx="203">
                  <c:v>2.5763567738859998</c:v>
                </c:pt>
                <c:pt idx="204">
                  <c:v>2.5724465252669999</c:v>
                </c:pt>
                <c:pt idx="205">
                  <c:v>0</c:v>
                </c:pt>
                <c:pt idx="206">
                  <c:v>1.281377737343</c:v>
                </c:pt>
                <c:pt idx="207">
                  <c:v>1.279034073467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7997910641</c:v>
                </c:pt>
                <c:pt idx="212">
                  <c:v>1.2715689889749999</c:v>
                </c:pt>
                <c:pt idx="213">
                  <c:v>2.5383287643410002</c:v>
                </c:pt>
                <c:pt idx="214">
                  <c:v>5.0663694396589998</c:v>
                </c:pt>
                <c:pt idx="215">
                  <c:v>0</c:v>
                </c:pt>
                <c:pt idx="216">
                  <c:v>1.265774717415</c:v>
                </c:pt>
                <c:pt idx="217">
                  <c:v>1.2638230647699999</c:v>
                </c:pt>
                <c:pt idx="218">
                  <c:v>3.7855367260150001</c:v>
                </c:pt>
                <c:pt idx="219">
                  <c:v>1.260144160491</c:v>
                </c:pt>
                <c:pt idx="220">
                  <c:v>2.51673629637</c:v>
                </c:pt>
                <c:pt idx="221">
                  <c:v>0</c:v>
                </c:pt>
                <c:pt idx="222">
                  <c:v>1.2565971349580001</c:v>
                </c:pt>
                <c:pt idx="223">
                  <c:v>1.256249842968</c:v>
                </c:pt>
                <c:pt idx="224">
                  <c:v>1.2552406296280001</c:v>
                </c:pt>
                <c:pt idx="225">
                  <c:v>2.5083716905169999</c:v>
                </c:pt>
                <c:pt idx="226">
                  <c:v>1.2533055935020001</c:v>
                </c:pt>
                <c:pt idx="227">
                  <c:v>7.5139948153429996</c:v>
                </c:pt>
                <c:pt idx="228">
                  <c:v>1.251329537633</c:v>
                </c:pt>
                <c:pt idx="229">
                  <c:v>1.2511416667699999</c:v>
                </c:pt>
                <c:pt idx="230">
                  <c:v>2.5021268077859999</c:v>
                </c:pt>
                <c:pt idx="231">
                  <c:v>5.0001250031250004</c:v>
                </c:pt>
                <c:pt idx="232">
                  <c:v>2.4987818438509999</c:v>
                </c:pt>
                <c:pt idx="233">
                  <c:v>2.4973465692699999</c:v>
                </c:pt>
                <c:pt idx="234">
                  <c:v>2.496224460503</c:v>
                </c:pt>
                <c:pt idx="235">
                  <c:v>4.9888996981710001</c:v>
                </c:pt>
                <c:pt idx="236">
                  <c:v>3.7413014740719999</c:v>
                </c:pt>
                <c:pt idx="237">
                  <c:v>3.7410215482839999</c:v>
                </c:pt>
                <c:pt idx="238">
                  <c:v>3.739203051189</c:v>
                </c:pt>
                <c:pt idx="239">
                  <c:v>6.2275807094450002</c:v>
                </c:pt>
                <c:pt idx="240">
                  <c:v>4.9795837068019999</c:v>
                </c:pt>
                <c:pt idx="241">
                  <c:v>9.9527245583470005</c:v>
                </c:pt>
                <c:pt idx="242">
                  <c:v>2.4865106795630001</c:v>
                </c:pt>
                <c:pt idx="243">
                  <c:v>2.4862633947439998</c:v>
                </c:pt>
                <c:pt idx="244">
                  <c:v>7.4584193123329996</c:v>
                </c:pt>
                <c:pt idx="245">
                  <c:v>7.4543421543040003</c:v>
                </c:pt>
                <c:pt idx="246">
                  <c:v>6.2090975697589998</c:v>
                </c:pt>
                <c:pt idx="247">
                  <c:v>4.964873519847</c:v>
                </c:pt>
                <c:pt idx="248">
                  <c:v>6.2029352289500004</c:v>
                </c:pt>
                <c:pt idx="249">
                  <c:v>7.439276902285</c:v>
                </c:pt>
                <c:pt idx="250">
                  <c:v>2.4795437639469999</c:v>
                </c:pt>
                <c:pt idx="251">
                  <c:v>2.4794515453180002</c:v>
                </c:pt>
                <c:pt idx="252">
                  <c:v>12.391880839673</c:v>
                </c:pt>
                <c:pt idx="253">
                  <c:v>16.109045848821999</c:v>
                </c:pt>
                <c:pt idx="254">
                  <c:v>18.577001671929999</c:v>
                </c:pt>
                <c:pt idx="255">
                  <c:v>12.381141045958</c:v>
                </c:pt>
                <c:pt idx="256">
                  <c:v>11.139165305213</c:v>
                </c:pt>
                <c:pt idx="257">
                  <c:v>7.4254668762289997</c:v>
                </c:pt>
                <c:pt idx="258">
                  <c:v>3.7125496553509998</c:v>
                </c:pt>
                <c:pt idx="259">
                  <c:v>18.556088871294001</c:v>
                </c:pt>
                <c:pt idx="260">
                  <c:v>14.839180382603001</c:v>
                </c:pt>
                <c:pt idx="261">
                  <c:v>16.070214475554</c:v>
                </c:pt>
                <c:pt idx="262">
                  <c:v>33.363813854631999</c:v>
                </c:pt>
                <c:pt idx="263">
                  <c:v>19.760649137323998</c:v>
                </c:pt>
                <c:pt idx="264">
                  <c:v>29.638777400432001</c:v>
                </c:pt>
                <c:pt idx="265">
                  <c:v>6.174516535355</c:v>
                </c:pt>
                <c:pt idx="266">
                  <c:v>50.613534799890999</c:v>
                </c:pt>
                <c:pt idx="267">
                  <c:v>48.130322102923998</c:v>
                </c:pt>
                <c:pt idx="268">
                  <c:v>49.347989686269997</c:v>
                </c:pt>
                <c:pt idx="269">
                  <c:v>25.896831954224002</c:v>
                </c:pt>
                <c:pt idx="270">
                  <c:v>50.529948237614001</c:v>
                </c:pt>
                <c:pt idx="271">
                  <c:v>39.435092302762001</c:v>
                </c:pt>
                <c:pt idx="272">
                  <c:v>25.878322591774999</c:v>
                </c:pt>
                <c:pt idx="273">
                  <c:v>78.842979279079003</c:v>
                </c:pt>
                <c:pt idx="274">
                  <c:v>67.744001576586996</c:v>
                </c:pt>
                <c:pt idx="275">
                  <c:v>76.340577479529003</c:v>
                </c:pt>
                <c:pt idx="276">
                  <c:v>79.998030817702002</c:v>
                </c:pt>
                <c:pt idx="277">
                  <c:v>94.703957887485998</c:v>
                </c:pt>
                <c:pt idx="278">
                  <c:v>63.947268098921001</c:v>
                </c:pt>
                <c:pt idx="279">
                  <c:v>23.362474946818999</c:v>
                </c:pt>
                <c:pt idx="280">
                  <c:v>89.721372122462995</c:v>
                </c:pt>
                <c:pt idx="281">
                  <c:v>111.757915162233</c:v>
                </c:pt>
                <c:pt idx="282">
                  <c:v>119.02862822573699</c:v>
                </c:pt>
                <c:pt idx="283">
                  <c:v>65.022696601643005</c:v>
                </c:pt>
                <c:pt idx="284">
                  <c:v>115.23279476303701</c:v>
                </c:pt>
                <c:pt idx="285">
                  <c:v>63.731738405725999</c:v>
                </c:pt>
                <c:pt idx="286">
                  <c:v>44.113862781378998</c:v>
                </c:pt>
                <c:pt idx="287">
                  <c:v>102.849166799309</c:v>
                </c:pt>
                <c:pt idx="288">
                  <c:v>155.39350039154201</c:v>
                </c:pt>
                <c:pt idx="289">
                  <c:v>90.475608265068999</c:v>
                </c:pt>
                <c:pt idx="290">
                  <c:v>122.140388162153</c:v>
                </c:pt>
                <c:pt idx="291">
                  <c:v>137.85363116223999</c:v>
                </c:pt>
                <c:pt idx="292">
                  <c:v>101.235561735397</c:v>
                </c:pt>
                <c:pt idx="293">
                  <c:v>71.952096976792006</c:v>
                </c:pt>
                <c:pt idx="294">
                  <c:v>131.58535991032701</c:v>
                </c:pt>
                <c:pt idx="295">
                  <c:v>180.208701157962</c:v>
                </c:pt>
                <c:pt idx="296">
                  <c:v>96.102379446255</c:v>
                </c:pt>
                <c:pt idx="297">
                  <c:v>148.28139433127501</c:v>
                </c:pt>
                <c:pt idx="298">
                  <c:v>140.8125857318</c:v>
                </c:pt>
                <c:pt idx="299">
                  <c:v>84.951456310679006</c:v>
                </c:pt>
                <c:pt idx="300">
                  <c:v>64.307121103655007</c:v>
                </c:pt>
                <c:pt idx="301">
                  <c:v>140.60094784431999</c:v>
                </c:pt>
                <c:pt idx="302">
                  <c:v>110.152155229806</c:v>
                </c:pt>
                <c:pt idx="303">
                  <c:v>112.545835199012</c:v>
                </c:pt>
                <c:pt idx="304">
                  <c:v>109.99770334465499</c:v>
                </c:pt>
                <c:pt idx="305">
                  <c:v>102.60248177296999</c:v>
                </c:pt>
                <c:pt idx="306">
                  <c:v>68.775790921595004</c:v>
                </c:pt>
                <c:pt idx="307">
                  <c:v>48.253232966608003</c:v>
                </c:pt>
                <c:pt idx="308">
                  <c:v>121.689679269379</c:v>
                </c:pt>
                <c:pt idx="309">
                  <c:v>104.674246525897</c:v>
                </c:pt>
                <c:pt idx="310">
                  <c:v>85.308854097828004</c:v>
                </c:pt>
                <c:pt idx="311">
                  <c:v>86.39723528847</c:v>
                </c:pt>
                <c:pt idx="312">
                  <c:v>79.055170926860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28-48BB-953D-F4625A5DF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B$2:$B$314</c:f>
              <c:numCache>
                <c:formatCode>General</c:formatCode>
                <c:ptCount val="313"/>
                <c:pt idx="0">
                  <c:v>109.994228025658</c:v>
                </c:pt>
                <c:pt idx="1">
                  <c:v>141.25067066694399</c:v>
                </c:pt>
                <c:pt idx="2">
                  <c:v>146.38065574131301</c:v>
                </c:pt>
                <c:pt idx="3">
                  <c:v>86.122183086928004</c:v>
                </c:pt>
                <c:pt idx="4">
                  <c:v>111.752860209342</c:v>
                </c:pt>
                <c:pt idx="5">
                  <c:v>50.999478918366997</c:v>
                </c:pt>
                <c:pt idx="6">
                  <c:v>42.218469469379997</c:v>
                </c:pt>
                <c:pt idx="7">
                  <c:v>138.63887926118801</c:v>
                </c:pt>
                <c:pt idx="8">
                  <c:v>163.775187494352</c:v>
                </c:pt>
                <c:pt idx="9">
                  <c:v>146.600696353307</c:v>
                </c:pt>
                <c:pt idx="10">
                  <c:v>112.852372808395</c:v>
                </c:pt>
                <c:pt idx="11">
                  <c:v>118.590199705896</c:v>
                </c:pt>
                <c:pt idx="12">
                  <c:v>60.622630071201002</c:v>
                </c:pt>
                <c:pt idx="13">
                  <c:v>25.023832221163001</c:v>
                </c:pt>
                <c:pt idx="14">
                  <c:v>143.19519446635499</c:v>
                </c:pt>
                <c:pt idx="15">
                  <c:v>144.16205803765601</c:v>
                </c:pt>
                <c:pt idx="16">
                  <c:v>160.53000382214199</c:v>
                </c:pt>
                <c:pt idx="17">
                  <c:v>159.22527766539099</c:v>
                </c:pt>
                <c:pt idx="18">
                  <c:v>139.63323004907099</c:v>
                </c:pt>
                <c:pt idx="19">
                  <c:v>73.294243070362</c:v>
                </c:pt>
                <c:pt idx="20">
                  <c:v>40.082302327444999</c:v>
                </c:pt>
                <c:pt idx="21">
                  <c:v>158.94579540823199</c:v>
                </c:pt>
                <c:pt idx="22">
                  <c:v>198.44277544270599</c:v>
                </c:pt>
                <c:pt idx="23">
                  <c:v>187.231902080509</c:v>
                </c:pt>
                <c:pt idx="24">
                  <c:v>195.119192376212</c:v>
                </c:pt>
                <c:pt idx="25">
                  <c:v>190.214670842808</c:v>
                </c:pt>
                <c:pt idx="26">
                  <c:v>103.103117437314</c:v>
                </c:pt>
                <c:pt idx="27">
                  <c:v>41.544897140564998</c:v>
                </c:pt>
                <c:pt idx="28">
                  <c:v>210.85772880229899</c:v>
                </c:pt>
                <c:pt idx="29">
                  <c:v>225.34310304722001</c:v>
                </c:pt>
                <c:pt idx="30">
                  <c:v>222.05340968854</c:v>
                </c:pt>
                <c:pt idx="31">
                  <c:v>207.15492543891801</c:v>
                </c:pt>
                <c:pt idx="32">
                  <c:v>181.67584892840699</c:v>
                </c:pt>
                <c:pt idx="33">
                  <c:v>87.153049618151002</c:v>
                </c:pt>
                <c:pt idx="34">
                  <c:v>38.405294022067999</c:v>
                </c:pt>
                <c:pt idx="35">
                  <c:v>154.22029776380501</c:v>
                </c:pt>
                <c:pt idx="36">
                  <c:v>196.548489405738</c:v>
                </c:pt>
                <c:pt idx="37">
                  <c:v>176.31150357852499</c:v>
                </c:pt>
                <c:pt idx="38">
                  <c:v>147.08089449197001</c:v>
                </c:pt>
                <c:pt idx="39">
                  <c:v>180.83455145496399</c:v>
                </c:pt>
                <c:pt idx="40">
                  <c:v>87.399415328049002</c:v>
                </c:pt>
                <c:pt idx="41">
                  <c:v>42.196000421960001</c:v>
                </c:pt>
                <c:pt idx="42">
                  <c:v>139.03581683542299</c:v>
                </c:pt>
                <c:pt idx="43">
                  <c:v>175.821510852431</c:v>
                </c:pt>
                <c:pt idx="44">
                  <c:v>138.40304182509499</c:v>
                </c:pt>
                <c:pt idx="45">
                  <c:v>118.936887208185</c:v>
                </c:pt>
                <c:pt idx="46">
                  <c:v>99.481167449761998</c:v>
                </c:pt>
                <c:pt idx="47">
                  <c:v>38.256132458033001</c:v>
                </c:pt>
                <c:pt idx="48">
                  <c:v>24.484299442982</c:v>
                </c:pt>
                <c:pt idx="49">
                  <c:v>121.415178434205</c:v>
                </c:pt>
                <c:pt idx="50">
                  <c:v>106.512712060635</c:v>
                </c:pt>
                <c:pt idx="51">
                  <c:v>89.948977218094996</c:v>
                </c:pt>
                <c:pt idx="52">
                  <c:v>96.849274411484004</c:v>
                </c:pt>
                <c:pt idx="53">
                  <c:v>88.169537424818998</c:v>
                </c:pt>
                <c:pt idx="54">
                  <c:v>28.361195581954998</c:v>
                </c:pt>
                <c:pt idx="55">
                  <c:v>9.4634238667540007</c:v>
                </c:pt>
                <c:pt idx="56">
                  <c:v>98.702539202419004</c:v>
                </c:pt>
                <c:pt idx="57">
                  <c:v>115.69052783803301</c:v>
                </c:pt>
                <c:pt idx="58">
                  <c:v>91.000682505117993</c:v>
                </c:pt>
                <c:pt idx="59">
                  <c:v>50.898940973647001</c:v>
                </c:pt>
                <c:pt idx="60">
                  <c:v>29.967535170232001</c:v>
                </c:pt>
                <c:pt idx="61">
                  <c:v>13.340003335</c:v>
                </c:pt>
                <c:pt idx="62">
                  <c:v>26.707172545026001</c:v>
                </c:pt>
                <c:pt idx="63">
                  <c:v>15.207840486649999</c:v>
                </c:pt>
                <c:pt idx="64">
                  <c:v>82.165049042263007</c:v>
                </c:pt>
                <c:pt idx="65">
                  <c:v>67.671912685880002</c:v>
                </c:pt>
                <c:pt idx="66">
                  <c:v>73.863036825999004</c:v>
                </c:pt>
                <c:pt idx="67">
                  <c:v>59.054061308851999</c:v>
                </c:pt>
                <c:pt idx="68">
                  <c:v>23.316294502735001</c:v>
                </c:pt>
                <c:pt idx="69">
                  <c:v>7.1808128680159999</c:v>
                </c:pt>
                <c:pt idx="70">
                  <c:v>47.302829073045999</c:v>
                </c:pt>
                <c:pt idx="71">
                  <c:v>55.297500552975002</c:v>
                </c:pt>
                <c:pt idx="72">
                  <c:v>44.902617448408002</c:v>
                </c:pt>
                <c:pt idx="73">
                  <c:v>30.476190476189998</c:v>
                </c:pt>
                <c:pt idx="74">
                  <c:v>36.401954210173002</c:v>
                </c:pt>
                <c:pt idx="75">
                  <c:v>13.460761879122</c:v>
                </c:pt>
                <c:pt idx="76">
                  <c:v>7.7105460994269999</c:v>
                </c:pt>
                <c:pt idx="77">
                  <c:v>44.428990882397997</c:v>
                </c:pt>
                <c:pt idx="78">
                  <c:v>43.242393269910998</c:v>
                </c:pt>
                <c:pt idx="79">
                  <c:v>51.722765974376998</c:v>
                </c:pt>
                <c:pt idx="80">
                  <c:v>20.195492366103</c:v>
                </c:pt>
                <c:pt idx="81">
                  <c:v>28.783486502599999</c:v>
                </c:pt>
                <c:pt idx="82">
                  <c:v>8.2829454153889994</c:v>
                </c:pt>
                <c:pt idx="83">
                  <c:v>4.1542040545030003</c:v>
                </c:pt>
                <c:pt idx="84">
                  <c:v>25.153014169531001</c:v>
                </c:pt>
                <c:pt idx="85">
                  <c:v>33.914831379696999</c:v>
                </c:pt>
                <c:pt idx="86">
                  <c:v>23.589963542783</c:v>
                </c:pt>
                <c:pt idx="87">
                  <c:v>41.187054258524</c:v>
                </c:pt>
                <c:pt idx="88">
                  <c:v>35.141664836371</c:v>
                </c:pt>
                <c:pt idx="89">
                  <c:v>13.205097167506</c:v>
                </c:pt>
                <c:pt idx="90">
                  <c:v>8.8220374495480005</c:v>
                </c:pt>
                <c:pt idx="91">
                  <c:v>22.196080172241</c:v>
                </c:pt>
                <c:pt idx="92">
                  <c:v>31.273035941652999</c:v>
                </c:pt>
                <c:pt idx="93">
                  <c:v>26.968110209677</c:v>
                </c:pt>
                <c:pt idx="94">
                  <c:v>29.384507583463002</c:v>
                </c:pt>
                <c:pt idx="95">
                  <c:v>29.563595842902998</c:v>
                </c:pt>
                <c:pt idx="96">
                  <c:v>9.1143163123470003</c:v>
                </c:pt>
                <c:pt idx="97">
                  <c:v>4.5642301284829996</c:v>
                </c:pt>
                <c:pt idx="98">
                  <c:v>16.023806798671998</c:v>
                </c:pt>
                <c:pt idx="99">
                  <c:v>29.890554584751001</c:v>
                </c:pt>
                <c:pt idx="100">
                  <c:v>11.558555642886001</c:v>
                </c:pt>
                <c:pt idx="101">
                  <c:v>23.213705371650999</c:v>
                </c:pt>
                <c:pt idx="102">
                  <c:v>18.638460463165</c:v>
                </c:pt>
                <c:pt idx="103">
                  <c:v>11.657185489134999</c:v>
                </c:pt>
                <c:pt idx="104">
                  <c:v>4.6667911144290004</c:v>
                </c:pt>
                <c:pt idx="105">
                  <c:v>9.3536619586559997</c:v>
                </c:pt>
                <c:pt idx="106">
                  <c:v>11.715912552428</c:v>
                </c:pt>
                <c:pt idx="107">
                  <c:v>4.6972614965470001</c:v>
                </c:pt>
                <c:pt idx="108">
                  <c:v>14.127952153335</c:v>
                </c:pt>
                <c:pt idx="109">
                  <c:v>9.4509025611940007</c:v>
                </c:pt>
                <c:pt idx="110">
                  <c:v>2.3638426626319999</c:v>
                </c:pt>
                <c:pt idx="111">
                  <c:v>0</c:v>
                </c:pt>
                <c:pt idx="112">
                  <c:v>9.4822681585430004</c:v>
                </c:pt>
                <c:pt idx="113">
                  <c:v>0</c:v>
                </c:pt>
                <c:pt idx="114">
                  <c:v>9.5319797922019998</c:v>
                </c:pt>
                <c:pt idx="115">
                  <c:v>0</c:v>
                </c:pt>
                <c:pt idx="116">
                  <c:v>2.3990020151609999</c:v>
                </c:pt>
                <c:pt idx="117">
                  <c:v>2.4120796951129999</c:v>
                </c:pt>
                <c:pt idx="118">
                  <c:v>0</c:v>
                </c:pt>
                <c:pt idx="119">
                  <c:v>2.4234199302050001</c:v>
                </c:pt>
                <c:pt idx="120">
                  <c:v>2.441644691864</c:v>
                </c:pt>
                <c:pt idx="121">
                  <c:v>2.4567610062890002</c:v>
                </c:pt>
                <c:pt idx="122">
                  <c:v>2.4813895781630002</c:v>
                </c:pt>
                <c:pt idx="123">
                  <c:v>5.0017506127139999</c:v>
                </c:pt>
                <c:pt idx="124">
                  <c:v>2.5063912978089999</c:v>
                </c:pt>
                <c:pt idx="125">
                  <c:v>0</c:v>
                </c:pt>
                <c:pt idx="126">
                  <c:v>2.5277419680989999</c:v>
                </c:pt>
                <c:pt idx="127">
                  <c:v>2.54582484725</c:v>
                </c:pt>
                <c:pt idx="128">
                  <c:v>5.1280736391369999</c:v>
                </c:pt>
                <c:pt idx="129">
                  <c:v>2.5865190626449999</c:v>
                </c:pt>
                <c:pt idx="131">
                  <c:v>2.6213006894020001</c:v>
                </c:pt>
                <c:pt idx="132">
                  <c:v>0</c:v>
                </c:pt>
                <c:pt idx="133">
                  <c:v>0</c:v>
                </c:pt>
                <c:pt idx="135">
                  <c:v>2.6826912758870001</c:v>
                </c:pt>
                <c:pt idx="136">
                  <c:v>5.4056976052749999</c:v>
                </c:pt>
                <c:pt idx="137">
                  <c:v>0</c:v>
                </c:pt>
                <c:pt idx="138">
                  <c:v>2.7371014096069999</c:v>
                </c:pt>
                <c:pt idx="139">
                  <c:v>2.7422052814870002</c:v>
                </c:pt>
                <c:pt idx="141">
                  <c:v>2.7733865823550001</c:v>
                </c:pt>
                <c:pt idx="142">
                  <c:v>5.5794230876519997</c:v>
                </c:pt>
                <c:pt idx="143">
                  <c:v>5.6175041429089996</c:v>
                </c:pt>
                <c:pt idx="145">
                  <c:v>2.8431707039690002</c:v>
                </c:pt>
                <c:pt idx="146">
                  <c:v>5.6968695701709997</c:v>
                </c:pt>
                <c:pt idx="147">
                  <c:v>0</c:v>
                </c:pt>
                <c:pt idx="148">
                  <c:v>2.884920520439</c:v>
                </c:pt>
                <c:pt idx="150">
                  <c:v>0</c:v>
                </c:pt>
                <c:pt idx="151">
                  <c:v>2.9492435190370001</c:v>
                </c:pt>
                <c:pt idx="153">
                  <c:v>0</c:v>
                </c:pt>
                <c:pt idx="154">
                  <c:v>0</c:v>
                </c:pt>
                <c:pt idx="155">
                  <c:v>3.0032735681889999</c:v>
                </c:pt>
                <c:pt idx="156">
                  <c:v>0</c:v>
                </c:pt>
                <c:pt idx="157">
                  <c:v>3.0482228860570002</c:v>
                </c:pt>
                <c:pt idx="158">
                  <c:v>12.303149606299</c:v>
                </c:pt>
                <c:pt idx="159">
                  <c:v>0</c:v>
                </c:pt>
                <c:pt idx="161">
                  <c:v>3.1110972840120001</c:v>
                </c:pt>
                <c:pt idx="162">
                  <c:v>0</c:v>
                </c:pt>
                <c:pt idx="163">
                  <c:v>6.3145265683699998</c:v>
                </c:pt>
                <c:pt idx="164">
                  <c:v>3.1840035660830002</c:v>
                </c:pt>
                <c:pt idx="165">
                  <c:v>9.6317462355920007</c:v>
                </c:pt>
                <c:pt idx="166">
                  <c:v>3.2188495831580002</c:v>
                </c:pt>
                <c:pt idx="167">
                  <c:v>3.2238305554659998</c:v>
                </c:pt>
                <c:pt idx="168">
                  <c:v>6.4584880679429997</c:v>
                </c:pt>
                <c:pt idx="169">
                  <c:v>6.4712353588299996</c:v>
                </c:pt>
                <c:pt idx="170">
                  <c:v>3.2588150948310002</c:v>
                </c:pt>
                <c:pt idx="171">
                  <c:v>6.5629717135909997</c:v>
                </c:pt>
                <c:pt idx="172">
                  <c:v>3.304474258145</c:v>
                </c:pt>
                <c:pt idx="173">
                  <c:v>0</c:v>
                </c:pt>
                <c:pt idx="174">
                  <c:v>3.3182904167770002</c:v>
                </c:pt>
                <c:pt idx="175">
                  <c:v>6.6769045870330004</c:v>
                </c:pt>
                <c:pt idx="176">
                  <c:v>3.3572819445370001</c:v>
                </c:pt>
                <c:pt idx="177">
                  <c:v>0</c:v>
                </c:pt>
                <c:pt idx="178">
                  <c:v>10.217983651226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090181767140001</c:v>
                </c:pt>
                <c:pt idx="184">
                  <c:v>7.0731362286030004</c:v>
                </c:pt>
                <c:pt idx="185">
                  <c:v>0</c:v>
                </c:pt>
                <c:pt idx="186">
                  <c:v>7.1841660979200004</c:v>
                </c:pt>
                <c:pt idx="187">
                  <c:v>3.6065928517320001</c:v>
                </c:pt>
                <c:pt idx="188">
                  <c:v>0</c:v>
                </c:pt>
                <c:pt idx="189">
                  <c:v>21.830883423082</c:v>
                </c:pt>
                <c:pt idx="190">
                  <c:v>0</c:v>
                </c:pt>
                <c:pt idx="191">
                  <c:v>0</c:v>
                </c:pt>
                <c:pt idx="192">
                  <c:v>7.4296964968979999</c:v>
                </c:pt>
                <c:pt idx="193">
                  <c:v>14.954948218490999</c:v>
                </c:pt>
                <c:pt idx="194">
                  <c:v>7.4965328535550002</c:v>
                </c:pt>
                <c:pt idx="195">
                  <c:v>3.757844500394</c:v>
                </c:pt>
                <c:pt idx="196">
                  <c:v>0</c:v>
                </c:pt>
                <c:pt idx="197">
                  <c:v>3.8004028427010002</c:v>
                </c:pt>
                <c:pt idx="198">
                  <c:v>3.8236531181890001</c:v>
                </c:pt>
                <c:pt idx="199">
                  <c:v>0</c:v>
                </c:pt>
                <c:pt idx="200">
                  <c:v>7.7483341081660004</c:v>
                </c:pt>
                <c:pt idx="201">
                  <c:v>3.886664852889</c:v>
                </c:pt>
                <c:pt idx="202">
                  <c:v>3.8955979742890001</c:v>
                </c:pt>
                <c:pt idx="203">
                  <c:v>0</c:v>
                </c:pt>
                <c:pt idx="204">
                  <c:v>7.9020150138279996</c:v>
                </c:pt>
                <c:pt idx="205">
                  <c:v>7.9586152009550002</c:v>
                </c:pt>
                <c:pt idx="206">
                  <c:v>8.0035215494810004</c:v>
                </c:pt>
                <c:pt idx="207">
                  <c:v>4.0333965232119997</c:v>
                </c:pt>
                <c:pt idx="208">
                  <c:v>0</c:v>
                </c:pt>
                <c:pt idx="209">
                  <c:v>4.0490747864110004</c:v>
                </c:pt>
                <c:pt idx="210">
                  <c:v>0</c:v>
                </c:pt>
                <c:pt idx="211">
                  <c:v>4.0973531098910003</c:v>
                </c:pt>
                <c:pt idx="212">
                  <c:v>4.1232012534529998</c:v>
                </c:pt>
                <c:pt idx="213">
                  <c:v>12.438326630457</c:v>
                </c:pt>
                <c:pt idx="214">
                  <c:v>12.540757461749999</c:v>
                </c:pt>
                <c:pt idx="215">
                  <c:v>16.763756757888999</c:v>
                </c:pt>
                <c:pt idx="216">
                  <c:v>4.1983290650320004</c:v>
                </c:pt>
                <c:pt idx="217">
                  <c:v>12.682308180088</c:v>
                </c:pt>
                <c:pt idx="218">
                  <c:v>8.5019554497529999</c:v>
                </c:pt>
                <c:pt idx="219">
                  <c:v>4.2742349119499998</c:v>
                </c:pt>
                <c:pt idx="220">
                  <c:v>4.2927666881300004</c:v>
                </c:pt>
                <c:pt idx="221">
                  <c:v>4.3176028668880004</c:v>
                </c:pt>
                <c:pt idx="222">
                  <c:v>0</c:v>
                </c:pt>
                <c:pt idx="223">
                  <c:v>4.3301290378450004</c:v>
                </c:pt>
                <c:pt idx="224">
                  <c:v>0</c:v>
                </c:pt>
                <c:pt idx="225">
                  <c:v>0</c:v>
                </c:pt>
                <c:pt idx="226">
                  <c:v>4.3761760973259998</c:v>
                </c:pt>
                <c:pt idx="227">
                  <c:v>17.556950357721998</c:v>
                </c:pt>
                <c:pt idx="228">
                  <c:v>13.211203100227999</c:v>
                </c:pt>
                <c:pt idx="229">
                  <c:v>0</c:v>
                </c:pt>
                <c:pt idx="230">
                  <c:v>22.053634438955001</c:v>
                </c:pt>
                <c:pt idx="231">
                  <c:v>17.692852087755998</c:v>
                </c:pt>
                <c:pt idx="232">
                  <c:v>13.297872340425</c:v>
                </c:pt>
                <c:pt idx="233">
                  <c:v>13.324450366422001</c:v>
                </c:pt>
                <c:pt idx="234">
                  <c:v>13.351134846460999</c:v>
                </c:pt>
                <c:pt idx="235">
                  <c:v>22.318439494709999</c:v>
                </c:pt>
                <c:pt idx="236">
                  <c:v>13.400634296690001</c:v>
                </c:pt>
                <c:pt idx="237">
                  <c:v>8.9397461112100007</c:v>
                </c:pt>
                <c:pt idx="238">
                  <c:v>8.9581653677320006</c:v>
                </c:pt>
                <c:pt idx="239">
                  <c:v>17.951709900368002</c:v>
                </c:pt>
                <c:pt idx="240">
                  <c:v>22.489092789996</c:v>
                </c:pt>
                <c:pt idx="241">
                  <c:v>45.053162732022997</c:v>
                </c:pt>
                <c:pt idx="242">
                  <c:v>49.722008769154002</c:v>
                </c:pt>
                <c:pt idx="243">
                  <c:v>18.094634940740001</c:v>
                </c:pt>
                <c:pt idx="244">
                  <c:v>18.109380659180999</c:v>
                </c:pt>
                <c:pt idx="245">
                  <c:v>22.692202959063</c:v>
                </c:pt>
                <c:pt idx="246">
                  <c:v>36.373556424478998</c:v>
                </c:pt>
                <c:pt idx="247">
                  <c:v>31.874686945038</c:v>
                </c:pt>
                <c:pt idx="248">
                  <c:v>27.374760470845001</c:v>
                </c:pt>
                <c:pt idx="249">
                  <c:v>22.881200805418</c:v>
                </c:pt>
                <c:pt idx="250">
                  <c:v>18.322568824148998</c:v>
                </c:pt>
                <c:pt idx="251">
                  <c:v>13.753896937465001</c:v>
                </c:pt>
                <c:pt idx="252">
                  <c:v>45.941103505306003</c:v>
                </c:pt>
                <c:pt idx="253">
                  <c:v>82.743403511997002</c:v>
                </c:pt>
                <c:pt idx="254">
                  <c:v>32.244691141921997</c:v>
                </c:pt>
                <c:pt idx="255">
                  <c:v>46.178711613944998</c:v>
                </c:pt>
                <c:pt idx="256">
                  <c:v>13.883104262112999</c:v>
                </c:pt>
                <c:pt idx="257">
                  <c:v>23.156724712856001</c:v>
                </c:pt>
                <c:pt idx="258">
                  <c:v>27.806098804337001</c:v>
                </c:pt>
                <c:pt idx="259">
                  <c:v>125.406409660938</c:v>
                </c:pt>
                <c:pt idx="260">
                  <c:v>97.706229935327002</c:v>
                </c:pt>
                <c:pt idx="261">
                  <c:v>125.82719731568601</c:v>
                </c:pt>
                <c:pt idx="262">
                  <c:v>125.997480050398</c:v>
                </c:pt>
                <c:pt idx="263">
                  <c:v>84.206586826347007</c:v>
                </c:pt>
                <c:pt idx="264">
                  <c:v>74.909874057774005</c:v>
                </c:pt>
                <c:pt idx="265">
                  <c:v>37.475991942660997</c:v>
                </c:pt>
                <c:pt idx="266">
                  <c:v>145.48526375070301</c:v>
                </c:pt>
                <c:pt idx="267">
                  <c:v>197.50764166470699</c:v>
                </c:pt>
                <c:pt idx="268">
                  <c:v>164.81446600113</c:v>
                </c:pt>
                <c:pt idx="269">
                  <c:v>108.516159471573</c:v>
                </c:pt>
                <c:pt idx="270">
                  <c:v>184.440766138567</c:v>
                </c:pt>
                <c:pt idx="271">
                  <c:v>132.525558500567</c:v>
                </c:pt>
                <c:pt idx="272">
                  <c:v>80.511484726497002</c:v>
                </c:pt>
                <c:pt idx="273">
                  <c:v>270.44980072119898</c:v>
                </c:pt>
                <c:pt idx="274">
                  <c:v>299.35851746257998</c:v>
                </c:pt>
                <c:pt idx="275">
                  <c:v>247.59546709837099</c:v>
                </c:pt>
                <c:pt idx="276">
                  <c:v>257.80578630764802</c:v>
                </c:pt>
                <c:pt idx="277">
                  <c:v>268.18638954072998</c:v>
                </c:pt>
                <c:pt idx="278">
                  <c:v>100.704934541792</c:v>
                </c:pt>
                <c:pt idx="279">
                  <c:v>62.430965759015997</c:v>
                </c:pt>
                <c:pt idx="280">
                  <c:v>216.61692500240599</c:v>
                </c:pt>
                <c:pt idx="281">
                  <c:v>289.79907264296702</c:v>
                </c:pt>
                <c:pt idx="282">
                  <c:v>290.89498690972499</c:v>
                </c:pt>
                <c:pt idx="283">
                  <c:v>262.186832394639</c:v>
                </c:pt>
                <c:pt idx="284">
                  <c:v>399.55172245773002</c:v>
                </c:pt>
                <c:pt idx="285">
                  <c:v>161.09348303636801</c:v>
                </c:pt>
                <c:pt idx="286">
                  <c:v>107.558423780189</c:v>
                </c:pt>
                <c:pt idx="287">
                  <c:v>333.54588708490701</c:v>
                </c:pt>
                <c:pt idx="288">
                  <c:v>388.89435857044401</c:v>
                </c:pt>
                <c:pt idx="289">
                  <c:v>316.11182455793698</c:v>
                </c:pt>
                <c:pt idx="290">
                  <c:v>366.845131865952</c:v>
                </c:pt>
                <c:pt idx="291">
                  <c:v>667.23099138574901</c:v>
                </c:pt>
                <c:pt idx="292">
                  <c:v>319.34534204879901</c:v>
                </c:pt>
                <c:pt idx="293">
                  <c:v>204.86683655623801</c:v>
                </c:pt>
                <c:pt idx="294">
                  <c:v>426.27883650952799</c:v>
                </c:pt>
                <c:pt idx="295">
                  <c:v>533.19919517102596</c:v>
                </c:pt>
                <c:pt idx="296">
                  <c:v>413.72351160443901</c:v>
                </c:pt>
                <c:pt idx="297">
                  <c:v>607.71801883925798</c:v>
                </c:pt>
                <c:pt idx="298">
                  <c:v>371.78507766743002</c:v>
                </c:pt>
                <c:pt idx="299">
                  <c:v>260.36348784970301</c:v>
                </c:pt>
                <c:pt idx="300">
                  <c:v>168.78932023937301</c:v>
                </c:pt>
                <c:pt idx="301">
                  <c:v>498.84289020313702</c:v>
                </c:pt>
                <c:pt idx="302">
                  <c:v>522.23371251292599</c:v>
                </c:pt>
                <c:pt idx="303">
                  <c:v>383.55880371119002</c:v>
                </c:pt>
                <c:pt idx="304">
                  <c:v>333.50703491401703</c:v>
                </c:pt>
                <c:pt idx="305">
                  <c:v>309.97162971524602</c:v>
                </c:pt>
                <c:pt idx="306">
                  <c:v>242.130750605326</c:v>
                </c:pt>
                <c:pt idx="307">
                  <c:v>110.718616544524</c:v>
                </c:pt>
                <c:pt idx="308">
                  <c:v>424.42569897607302</c:v>
                </c:pt>
                <c:pt idx="309">
                  <c:v>399.914684867228</c:v>
                </c:pt>
                <c:pt idx="310">
                  <c:v>327.27077632920202</c:v>
                </c:pt>
                <c:pt idx="311">
                  <c:v>243.28269449099801</c:v>
                </c:pt>
                <c:pt idx="312">
                  <c:v>217.983651226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D6-4329-ABC8-2C99E095519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C$2:$C$314</c:f>
              <c:numCache>
                <c:formatCode>General</c:formatCode>
                <c:ptCount val="3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570259208731002</c:v>
                </c:pt>
                <c:pt idx="9">
                  <c:v>0</c:v>
                </c:pt>
                <c:pt idx="10">
                  <c:v>16.053941242575</c:v>
                </c:pt>
                <c:pt idx="11">
                  <c:v>12.740476493819999</c:v>
                </c:pt>
                <c:pt idx="12">
                  <c:v>12.44400199104</c:v>
                </c:pt>
                <c:pt idx="13">
                  <c:v>0</c:v>
                </c:pt>
                <c:pt idx="14">
                  <c:v>10.266940451745</c:v>
                </c:pt>
                <c:pt idx="15">
                  <c:v>25.706940874034999</c:v>
                </c:pt>
                <c:pt idx="16">
                  <c:v>0</c:v>
                </c:pt>
                <c:pt idx="17">
                  <c:v>25.813113061435001</c:v>
                </c:pt>
                <c:pt idx="18">
                  <c:v>17.740981667652001</c:v>
                </c:pt>
                <c:pt idx="19">
                  <c:v>11.724703951225001</c:v>
                </c:pt>
                <c:pt idx="20">
                  <c:v>0</c:v>
                </c:pt>
                <c:pt idx="21">
                  <c:v>5.4144783150139997</c:v>
                </c:pt>
                <c:pt idx="22">
                  <c:v>35.888233786207998</c:v>
                </c:pt>
                <c:pt idx="23">
                  <c:v>4.8799531524489996</c:v>
                </c:pt>
                <c:pt idx="24">
                  <c:v>18.757327080890001</c:v>
                </c:pt>
                <c:pt idx="25">
                  <c:v>40.685321640070001</c:v>
                </c:pt>
                <c:pt idx="26">
                  <c:v>13.513513513513001</c:v>
                </c:pt>
                <c:pt idx="27">
                  <c:v>4.5006525946259996</c:v>
                </c:pt>
                <c:pt idx="28">
                  <c:v>8.7761639387420001</c:v>
                </c:pt>
                <c:pt idx="29">
                  <c:v>25.803122177782999</c:v>
                </c:pt>
                <c:pt idx="30">
                  <c:v>33.911237336272002</c:v>
                </c:pt>
                <c:pt idx="31">
                  <c:v>8.3354171876300001</c:v>
                </c:pt>
                <c:pt idx="32">
                  <c:v>8.2061381913669997</c:v>
                </c:pt>
                <c:pt idx="33">
                  <c:v>24.596212183323001</c:v>
                </c:pt>
                <c:pt idx="34">
                  <c:v>4.097017371353</c:v>
                </c:pt>
                <c:pt idx="35">
                  <c:v>16.202859804755001</c:v>
                </c:pt>
                <c:pt idx="36">
                  <c:v>8.0064051240990004</c:v>
                </c:pt>
                <c:pt idx="37">
                  <c:v>11.891549072459</c:v>
                </c:pt>
                <c:pt idx="38">
                  <c:v>23.492560689114999</c:v>
                </c:pt>
                <c:pt idx="39">
                  <c:v>23.231501916597999</c:v>
                </c:pt>
                <c:pt idx="40">
                  <c:v>3.8699690402470002</c:v>
                </c:pt>
                <c:pt idx="41">
                  <c:v>7.7336529909899996</c:v>
                </c:pt>
                <c:pt idx="42">
                  <c:v>30.693677102515998</c:v>
                </c:pt>
                <c:pt idx="43">
                  <c:v>7.6120879957370002</c:v>
                </c:pt>
                <c:pt idx="44">
                  <c:v>0</c:v>
                </c:pt>
                <c:pt idx="45">
                  <c:v>22.471068499306998</c:v>
                </c:pt>
                <c:pt idx="46">
                  <c:v>22.256018398308001</c:v>
                </c:pt>
                <c:pt idx="47">
                  <c:v>3.7085110328200002</c:v>
                </c:pt>
                <c:pt idx="48">
                  <c:v>3.7063118490779998</c:v>
                </c:pt>
                <c:pt idx="49">
                  <c:v>14.663294109021001</c:v>
                </c:pt>
                <c:pt idx="50">
                  <c:v>25.380710659898</c:v>
                </c:pt>
                <c:pt idx="51">
                  <c:v>21.508459994264001</c:v>
                </c:pt>
                <c:pt idx="52">
                  <c:v>14.096419509444001</c:v>
                </c:pt>
                <c:pt idx="53">
                  <c:v>0</c:v>
                </c:pt>
                <c:pt idx="54">
                  <c:v>3.4532771600240002</c:v>
                </c:pt>
                <c:pt idx="55">
                  <c:v>0</c:v>
                </c:pt>
                <c:pt idx="56">
                  <c:v>13.494366102152</c:v>
                </c:pt>
                <c:pt idx="57">
                  <c:v>16.535485151134001</c:v>
                </c:pt>
                <c:pt idx="58">
                  <c:v>16.154566896060999</c:v>
                </c:pt>
                <c:pt idx="59">
                  <c:v>6.3257108517559999</c:v>
                </c:pt>
                <c:pt idx="60">
                  <c:v>3.0778701138810001</c:v>
                </c:pt>
                <c:pt idx="61">
                  <c:v>9.1973756821380004</c:v>
                </c:pt>
                <c:pt idx="62">
                  <c:v>0</c:v>
                </c:pt>
                <c:pt idx="63">
                  <c:v>0</c:v>
                </c:pt>
                <c:pt idx="64">
                  <c:v>2.918174390101</c:v>
                </c:pt>
                <c:pt idx="65">
                  <c:v>11.399583915187</c:v>
                </c:pt>
                <c:pt idx="66">
                  <c:v>5.5724276280960003</c:v>
                </c:pt>
                <c:pt idx="67">
                  <c:v>2.7096599376769999</c:v>
                </c:pt>
                <c:pt idx="68">
                  <c:v>5.3960716598309997</c:v>
                </c:pt>
                <c:pt idx="69">
                  <c:v>0</c:v>
                </c:pt>
                <c:pt idx="70">
                  <c:v>2.6371308016869999</c:v>
                </c:pt>
                <c:pt idx="71">
                  <c:v>5.1725029741890003</c:v>
                </c:pt>
                <c:pt idx="72">
                  <c:v>2.5315173915239999</c:v>
                </c:pt>
                <c:pt idx="73">
                  <c:v>7.4103349471389999</c:v>
                </c:pt>
                <c:pt idx="74">
                  <c:v>4.8991989809660001</c:v>
                </c:pt>
                <c:pt idx="75">
                  <c:v>4.8723445722080001</c:v>
                </c:pt>
                <c:pt idx="76">
                  <c:v>2.4267721503619999</c:v>
                </c:pt>
                <c:pt idx="77">
                  <c:v>7.2553145178839999</c:v>
                </c:pt>
                <c:pt idx="78">
                  <c:v>4.7310403557739997</c:v>
                </c:pt>
                <c:pt idx="79">
                  <c:v>4.6603751602000001</c:v>
                </c:pt>
                <c:pt idx="80">
                  <c:v>4.57665903890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642418930760009</c:v>
                </c:pt>
                <c:pt idx="85">
                  <c:v>8.6572591117650006</c:v>
                </c:pt>
                <c:pt idx="86">
                  <c:v>4.2749658002729998</c:v>
                </c:pt>
                <c:pt idx="87">
                  <c:v>6.3403499873189997</c:v>
                </c:pt>
                <c:pt idx="88">
                  <c:v>2.0855057351399999</c:v>
                </c:pt>
                <c:pt idx="89">
                  <c:v>0</c:v>
                </c:pt>
                <c:pt idx="90">
                  <c:v>0</c:v>
                </c:pt>
                <c:pt idx="91">
                  <c:v>6.1932287365810001</c:v>
                </c:pt>
                <c:pt idx="92">
                  <c:v>6.1577618588230001</c:v>
                </c:pt>
                <c:pt idx="93">
                  <c:v>0</c:v>
                </c:pt>
                <c:pt idx="94">
                  <c:v>2.03124047856</c:v>
                </c:pt>
                <c:pt idx="95">
                  <c:v>4.0410571405470002</c:v>
                </c:pt>
                <c:pt idx="96">
                  <c:v>0</c:v>
                </c:pt>
                <c:pt idx="97">
                  <c:v>0</c:v>
                </c:pt>
                <c:pt idx="98">
                  <c:v>4.0193733796900002</c:v>
                </c:pt>
                <c:pt idx="99">
                  <c:v>4.0044048453289998</c:v>
                </c:pt>
                <c:pt idx="100">
                  <c:v>7.9725743442550003</c:v>
                </c:pt>
                <c:pt idx="101">
                  <c:v>1.986294567484</c:v>
                </c:pt>
                <c:pt idx="102">
                  <c:v>1.9804333188100001</c:v>
                </c:pt>
                <c:pt idx="103">
                  <c:v>0</c:v>
                </c:pt>
                <c:pt idx="104">
                  <c:v>1.97839591659</c:v>
                </c:pt>
                <c:pt idx="105">
                  <c:v>7.9002982362580001</c:v>
                </c:pt>
                <c:pt idx="106">
                  <c:v>3.9439174932459999</c:v>
                </c:pt>
                <c:pt idx="107">
                  <c:v>1.96838769364</c:v>
                </c:pt>
                <c:pt idx="108">
                  <c:v>3.9288871427159999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45756616229999</c:v>
                </c:pt>
                <c:pt idx="113">
                  <c:v>0</c:v>
                </c:pt>
                <c:pt idx="114">
                  <c:v>1.946737268338</c:v>
                </c:pt>
                <c:pt idx="115">
                  <c:v>1.9409937888190001</c:v>
                </c:pt>
                <c:pt idx="116">
                  <c:v>1.9367083704529999</c:v>
                </c:pt>
                <c:pt idx="117">
                  <c:v>1.9285287254350001</c:v>
                </c:pt>
                <c:pt idx="118">
                  <c:v>0</c:v>
                </c:pt>
                <c:pt idx="119">
                  <c:v>1.9218572828780001</c:v>
                </c:pt>
                <c:pt idx="120">
                  <c:v>0</c:v>
                </c:pt>
                <c:pt idx="121">
                  <c:v>0</c:v>
                </c:pt>
                <c:pt idx="122">
                  <c:v>1.887148518587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1469443979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52323092729999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60164356271</c:v>
                </c:pt>
                <c:pt idx="157">
                  <c:v>4.9599894186890001</c:v>
                </c:pt>
                <c:pt idx="158">
                  <c:v>0</c:v>
                </c:pt>
                <c:pt idx="159">
                  <c:v>0</c:v>
                </c:pt>
                <c:pt idx="161">
                  <c:v>3.269255917353</c:v>
                </c:pt>
                <c:pt idx="162">
                  <c:v>0</c:v>
                </c:pt>
                <c:pt idx="163">
                  <c:v>3.2435412983890002</c:v>
                </c:pt>
                <c:pt idx="164">
                  <c:v>1.6146220169850001</c:v>
                </c:pt>
                <c:pt idx="165">
                  <c:v>3.2153823893500002</c:v>
                </c:pt>
                <c:pt idx="166">
                  <c:v>0</c:v>
                </c:pt>
                <c:pt idx="167">
                  <c:v>0</c:v>
                </c:pt>
                <c:pt idx="168">
                  <c:v>1.6024870599159999</c:v>
                </c:pt>
                <c:pt idx="169">
                  <c:v>4.8022282339000002</c:v>
                </c:pt>
                <c:pt idx="170">
                  <c:v>0</c:v>
                </c:pt>
                <c:pt idx="171">
                  <c:v>1.5893702914900001</c:v>
                </c:pt>
                <c:pt idx="172">
                  <c:v>1.5838573261319999</c:v>
                </c:pt>
                <c:pt idx="173">
                  <c:v>0</c:v>
                </c:pt>
                <c:pt idx="174">
                  <c:v>0</c:v>
                </c:pt>
                <c:pt idx="175">
                  <c:v>1.5756219767749999</c:v>
                </c:pt>
                <c:pt idx="176">
                  <c:v>4.7138682002449999</c:v>
                </c:pt>
                <c:pt idx="177">
                  <c:v>1.565533220614</c:v>
                </c:pt>
                <c:pt idx="178">
                  <c:v>1.560476257353</c:v>
                </c:pt>
                <c:pt idx="179">
                  <c:v>1.5548955887610001</c:v>
                </c:pt>
                <c:pt idx="180">
                  <c:v>1.5532291634299999</c:v>
                </c:pt>
                <c:pt idx="181">
                  <c:v>1.5510849839459999</c:v>
                </c:pt>
                <c:pt idx="182">
                  <c:v>3.0917157476539998</c:v>
                </c:pt>
                <c:pt idx="183">
                  <c:v>4.6214992143450004</c:v>
                </c:pt>
                <c:pt idx="184">
                  <c:v>1.5356029545000001</c:v>
                </c:pt>
                <c:pt idx="185">
                  <c:v>1.5309012415600001</c:v>
                </c:pt>
                <c:pt idx="186">
                  <c:v>1.526065193505</c:v>
                </c:pt>
                <c:pt idx="187">
                  <c:v>0</c:v>
                </c:pt>
                <c:pt idx="188">
                  <c:v>0</c:v>
                </c:pt>
                <c:pt idx="189">
                  <c:v>3.0378054893140001</c:v>
                </c:pt>
                <c:pt idx="190">
                  <c:v>1.5148531349879999</c:v>
                </c:pt>
                <c:pt idx="191">
                  <c:v>1.5105740181259999</c:v>
                </c:pt>
                <c:pt idx="192">
                  <c:v>0</c:v>
                </c:pt>
                <c:pt idx="193">
                  <c:v>3.0069309758989999</c:v>
                </c:pt>
                <c:pt idx="194">
                  <c:v>0</c:v>
                </c:pt>
                <c:pt idx="195">
                  <c:v>0</c:v>
                </c:pt>
                <c:pt idx="196">
                  <c:v>1.497992689795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957381723</c:v>
                </c:pt>
                <c:pt idx="201">
                  <c:v>1.4834594273840001</c:v>
                </c:pt>
                <c:pt idx="202">
                  <c:v>1.4824917721699999</c:v>
                </c:pt>
                <c:pt idx="203">
                  <c:v>1.4785900165600001</c:v>
                </c:pt>
                <c:pt idx="204">
                  <c:v>1.4752744010379999</c:v>
                </c:pt>
                <c:pt idx="205">
                  <c:v>4.4151409901680001</c:v>
                </c:pt>
                <c:pt idx="206">
                  <c:v>0</c:v>
                </c:pt>
                <c:pt idx="207">
                  <c:v>1.465094132298</c:v>
                </c:pt>
                <c:pt idx="208">
                  <c:v>0</c:v>
                </c:pt>
                <c:pt idx="209">
                  <c:v>0</c:v>
                </c:pt>
                <c:pt idx="210">
                  <c:v>1.4604296584050001</c:v>
                </c:pt>
                <c:pt idx="211">
                  <c:v>0</c:v>
                </c:pt>
                <c:pt idx="212">
                  <c:v>1.4549687181719999</c:v>
                </c:pt>
                <c:pt idx="213">
                  <c:v>2.9044859785930002</c:v>
                </c:pt>
                <c:pt idx="214">
                  <c:v>4.3446148498930004</c:v>
                </c:pt>
                <c:pt idx="215">
                  <c:v>1.4470314150520001</c:v>
                </c:pt>
                <c:pt idx="216">
                  <c:v>0</c:v>
                </c:pt>
                <c:pt idx="217">
                  <c:v>2.885877956221</c:v>
                </c:pt>
                <c:pt idx="218">
                  <c:v>2.8806406544810002</c:v>
                </c:pt>
                <c:pt idx="219">
                  <c:v>0</c:v>
                </c:pt>
                <c:pt idx="220">
                  <c:v>2.871582816448</c:v>
                </c:pt>
                <c:pt idx="221">
                  <c:v>1.433136993565</c:v>
                </c:pt>
                <c:pt idx="222">
                  <c:v>0</c:v>
                </c:pt>
                <c:pt idx="223">
                  <c:v>2.863934473179</c:v>
                </c:pt>
                <c:pt idx="224">
                  <c:v>2.8609029009550002</c:v>
                </c:pt>
                <c:pt idx="225">
                  <c:v>4.2857755110779996</c:v>
                </c:pt>
                <c:pt idx="226">
                  <c:v>5.7092289686270004</c:v>
                </c:pt>
                <c:pt idx="227">
                  <c:v>4.2780748663099999</c:v>
                </c:pt>
                <c:pt idx="228">
                  <c:v>1.424602891943</c:v>
                </c:pt>
                <c:pt idx="229">
                  <c:v>2.848556493996</c:v>
                </c:pt>
                <c:pt idx="230">
                  <c:v>1.4240754190339999</c:v>
                </c:pt>
                <c:pt idx="231">
                  <c:v>5.6915196357419999</c:v>
                </c:pt>
                <c:pt idx="232">
                  <c:v>8.5320592124899992</c:v>
                </c:pt>
                <c:pt idx="233">
                  <c:v>7.1060074186710001</c:v>
                </c:pt>
                <c:pt idx="234">
                  <c:v>5.6815760692010002</c:v>
                </c:pt>
                <c:pt idx="235">
                  <c:v>0</c:v>
                </c:pt>
                <c:pt idx="236">
                  <c:v>1.418922753845</c:v>
                </c:pt>
                <c:pt idx="237">
                  <c:v>0</c:v>
                </c:pt>
                <c:pt idx="238">
                  <c:v>7.0894834602349999</c:v>
                </c:pt>
                <c:pt idx="239">
                  <c:v>2.8342261145590002</c:v>
                </c:pt>
                <c:pt idx="240">
                  <c:v>5.6649199830050003</c:v>
                </c:pt>
                <c:pt idx="241">
                  <c:v>2.8311769202449999</c:v>
                </c:pt>
                <c:pt idx="242">
                  <c:v>0</c:v>
                </c:pt>
                <c:pt idx="243">
                  <c:v>0</c:v>
                </c:pt>
                <c:pt idx="244">
                  <c:v>4.2425613757210003</c:v>
                </c:pt>
                <c:pt idx="245">
                  <c:v>5.6533906210240001</c:v>
                </c:pt>
                <c:pt idx="246">
                  <c:v>7.0638430131519998</c:v>
                </c:pt>
                <c:pt idx="247">
                  <c:v>8.4739778264240009</c:v>
                </c:pt>
                <c:pt idx="248">
                  <c:v>14.117115590941999</c:v>
                </c:pt>
                <c:pt idx="249">
                  <c:v>7.0530814913029998</c:v>
                </c:pt>
                <c:pt idx="250">
                  <c:v>5.6416693699660003</c:v>
                </c:pt>
                <c:pt idx="251">
                  <c:v>2.8205164365590001</c:v>
                </c:pt>
                <c:pt idx="252">
                  <c:v>12.686419892306001</c:v>
                </c:pt>
                <c:pt idx="253">
                  <c:v>18.324312133513001</c:v>
                </c:pt>
                <c:pt idx="254">
                  <c:v>15.497759869255001</c:v>
                </c:pt>
                <c:pt idx="255">
                  <c:v>12.672486623486</c:v>
                </c:pt>
                <c:pt idx="256">
                  <c:v>15.480965449298999</c:v>
                </c:pt>
                <c:pt idx="257">
                  <c:v>5.6289666624440002</c:v>
                </c:pt>
                <c:pt idx="258">
                  <c:v>9.8502758077219994</c:v>
                </c:pt>
                <c:pt idx="259">
                  <c:v>16.877637130800998</c:v>
                </c:pt>
                <c:pt idx="260">
                  <c:v>47.802491353371998</c:v>
                </c:pt>
                <c:pt idx="261">
                  <c:v>32.326071679549997</c:v>
                </c:pt>
                <c:pt idx="262">
                  <c:v>36.533786726994002</c:v>
                </c:pt>
                <c:pt idx="263">
                  <c:v>39.320872361638997</c:v>
                </c:pt>
                <c:pt idx="264">
                  <c:v>16.850382644105</c:v>
                </c:pt>
                <c:pt idx="265">
                  <c:v>18.254324870815001</c:v>
                </c:pt>
                <c:pt idx="266">
                  <c:v>68.778687028901004</c:v>
                </c:pt>
                <c:pt idx="267">
                  <c:v>61.732725359522</c:v>
                </c:pt>
                <c:pt idx="268">
                  <c:v>40.677205335727002</c:v>
                </c:pt>
                <c:pt idx="269">
                  <c:v>25.237654580634</c:v>
                </c:pt>
                <c:pt idx="270">
                  <c:v>60.257003124956</c:v>
                </c:pt>
                <c:pt idx="271">
                  <c:v>36.431403870136002</c:v>
                </c:pt>
                <c:pt idx="272">
                  <c:v>35.029214364780003</c:v>
                </c:pt>
                <c:pt idx="273">
                  <c:v>109.260530333804</c:v>
                </c:pt>
                <c:pt idx="274">
                  <c:v>92.434385591440005</c:v>
                </c:pt>
                <c:pt idx="275">
                  <c:v>74.201632435912998</c:v>
                </c:pt>
                <c:pt idx="276">
                  <c:v>85.356468201216998</c:v>
                </c:pt>
                <c:pt idx="277">
                  <c:v>106.277355931255</c:v>
                </c:pt>
                <c:pt idx="278">
                  <c:v>47.538485200151001</c:v>
                </c:pt>
                <c:pt idx="279">
                  <c:v>36.346860889379002</c:v>
                </c:pt>
                <c:pt idx="280">
                  <c:v>117.37745235034301</c:v>
                </c:pt>
                <c:pt idx="281">
                  <c:v>124.275640578091</c:v>
                </c:pt>
                <c:pt idx="282">
                  <c:v>115.80048831531199</c:v>
                </c:pt>
                <c:pt idx="283">
                  <c:v>93.461855008577999</c:v>
                </c:pt>
                <c:pt idx="284">
                  <c:v>122.661760196258</c:v>
                </c:pt>
                <c:pt idx="285">
                  <c:v>87.790195368021998</c:v>
                </c:pt>
                <c:pt idx="286">
                  <c:v>43.191127706411002</c:v>
                </c:pt>
                <c:pt idx="287">
                  <c:v>136.446542194004</c:v>
                </c:pt>
                <c:pt idx="288">
                  <c:v>166.949553409944</c:v>
                </c:pt>
                <c:pt idx="289">
                  <c:v>105.66121677232699</c:v>
                </c:pt>
                <c:pt idx="290">
                  <c:v>126.418737757526</c:v>
                </c:pt>
                <c:pt idx="291">
                  <c:v>165.15391234352001</c:v>
                </c:pt>
                <c:pt idx="292">
                  <c:v>84.630539138155001</c:v>
                </c:pt>
                <c:pt idx="293">
                  <c:v>69.359671512595</c:v>
                </c:pt>
                <c:pt idx="294">
                  <c:v>163.56403254647</c:v>
                </c:pt>
                <c:pt idx="295">
                  <c:v>151.002992352875</c:v>
                </c:pt>
                <c:pt idx="296">
                  <c:v>138.45429623681201</c:v>
                </c:pt>
                <c:pt idx="297">
                  <c:v>192.302371268088</c:v>
                </c:pt>
                <c:pt idx="298">
                  <c:v>114.68048359239999</c:v>
                </c:pt>
                <c:pt idx="299">
                  <c:v>91.156443793765007</c:v>
                </c:pt>
                <c:pt idx="300">
                  <c:v>69.039794537570998</c:v>
                </c:pt>
                <c:pt idx="301">
                  <c:v>155.84057371397</c:v>
                </c:pt>
                <c:pt idx="302">
                  <c:v>125.349532349821</c:v>
                </c:pt>
                <c:pt idx="303">
                  <c:v>132.21319377496201</c:v>
                </c:pt>
                <c:pt idx="304">
                  <c:v>90.787790417761002</c:v>
                </c:pt>
                <c:pt idx="305">
                  <c:v>137.29285939838201</c:v>
                </c:pt>
                <c:pt idx="306">
                  <c:v>72.745240676942004</c:v>
                </c:pt>
                <c:pt idx="307">
                  <c:v>60.379844110219999</c:v>
                </c:pt>
                <c:pt idx="308">
                  <c:v>161.70142790582901</c:v>
                </c:pt>
                <c:pt idx="309">
                  <c:v>120.458838667287</c:v>
                </c:pt>
                <c:pt idx="310">
                  <c:v>90.221863764985002</c:v>
                </c:pt>
                <c:pt idx="311">
                  <c:v>80.514199156646995</c:v>
                </c:pt>
                <c:pt idx="312">
                  <c:v>54.48848930663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D6-4329-ABC8-2C99E0955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B$2:$B$314</c:f>
              <c:numCache>
                <c:formatCode>General</c:formatCode>
                <c:ptCount val="313"/>
                <c:pt idx="0">
                  <c:v>111.263583429143</c:v>
                </c:pt>
                <c:pt idx="1">
                  <c:v>113.858300436318</c:v>
                </c:pt>
                <c:pt idx="2">
                  <c:v>124.00035189289</c:v>
                </c:pt>
                <c:pt idx="3">
                  <c:v>95.210811903879005</c:v>
                </c:pt>
                <c:pt idx="4">
                  <c:v>100.17668292600401</c:v>
                </c:pt>
                <c:pt idx="5">
                  <c:v>49.616006038734</c:v>
                </c:pt>
                <c:pt idx="6">
                  <c:v>35.735252826912998</c:v>
                </c:pt>
                <c:pt idx="7">
                  <c:v>117.418344788431</c:v>
                </c:pt>
                <c:pt idx="8">
                  <c:v>124.432413552217</c:v>
                </c:pt>
                <c:pt idx="9">
                  <c:v>116.363248755312</c:v>
                </c:pt>
                <c:pt idx="10">
                  <c:v>105.18870490941001</c:v>
                </c:pt>
                <c:pt idx="11">
                  <c:v>106.52302339320001</c:v>
                </c:pt>
                <c:pt idx="12">
                  <c:v>51.316980322269998</c:v>
                </c:pt>
                <c:pt idx="13">
                  <c:v>26.197972464058999</c:v>
                </c:pt>
                <c:pt idx="14">
                  <c:v>127.461174655351</c:v>
                </c:pt>
                <c:pt idx="15">
                  <c:v>132.327381892874</c:v>
                </c:pt>
                <c:pt idx="16">
                  <c:v>128.55952356755199</c:v>
                </c:pt>
                <c:pt idx="17">
                  <c:v>134.82674500957401</c:v>
                </c:pt>
                <c:pt idx="18">
                  <c:v>135.234883056847</c:v>
                </c:pt>
                <c:pt idx="19">
                  <c:v>67.619835873133994</c:v>
                </c:pt>
                <c:pt idx="20">
                  <c:v>38.541711903417003</c:v>
                </c:pt>
                <c:pt idx="21">
                  <c:v>151.85902142714099</c:v>
                </c:pt>
                <c:pt idx="22">
                  <c:v>185.162045188626</c:v>
                </c:pt>
                <c:pt idx="23">
                  <c:v>162.79756904412901</c:v>
                </c:pt>
                <c:pt idx="24">
                  <c:v>174.71888557683701</c:v>
                </c:pt>
                <c:pt idx="25">
                  <c:v>184.98609601258801</c:v>
                </c:pt>
                <c:pt idx="26">
                  <c:v>99.324592769169001</c:v>
                </c:pt>
                <c:pt idx="27">
                  <c:v>48.189577799060999</c:v>
                </c:pt>
                <c:pt idx="28">
                  <c:v>176.223810336837</c:v>
                </c:pt>
                <c:pt idx="29">
                  <c:v>205.04042313446999</c:v>
                </c:pt>
                <c:pt idx="30">
                  <c:v>182.451175693035</c:v>
                </c:pt>
                <c:pt idx="31">
                  <c:v>167.79573999173499</c:v>
                </c:pt>
                <c:pt idx="32">
                  <c:v>160.299899654787</c:v>
                </c:pt>
                <c:pt idx="33">
                  <c:v>80.184360892761006</c:v>
                </c:pt>
                <c:pt idx="34">
                  <c:v>44.846731557570997</c:v>
                </c:pt>
                <c:pt idx="35">
                  <c:v>144.82811189877199</c:v>
                </c:pt>
                <c:pt idx="36">
                  <c:v>166.272302871394</c:v>
                </c:pt>
                <c:pt idx="37">
                  <c:v>165.85986769782599</c:v>
                </c:pt>
                <c:pt idx="38">
                  <c:v>122.175104721518</c:v>
                </c:pt>
                <c:pt idx="39">
                  <c:v>156.808141010208</c:v>
                </c:pt>
                <c:pt idx="40">
                  <c:v>74.833738953888997</c:v>
                </c:pt>
                <c:pt idx="41">
                  <c:v>39.699326413068</c:v>
                </c:pt>
                <c:pt idx="42">
                  <c:v>138.45350052246599</c:v>
                </c:pt>
                <c:pt idx="43">
                  <c:v>152.762843880307</c:v>
                </c:pt>
                <c:pt idx="44">
                  <c:v>123.800680903744</c:v>
                </c:pt>
                <c:pt idx="45">
                  <c:v>111.72224132004099</c:v>
                </c:pt>
                <c:pt idx="46">
                  <c:v>99.077712834221003</c:v>
                </c:pt>
                <c:pt idx="47">
                  <c:v>38.567676297502999</c:v>
                </c:pt>
                <c:pt idx="48">
                  <c:v>28.595749208629002</c:v>
                </c:pt>
                <c:pt idx="49">
                  <c:v>119.005435472979</c:v>
                </c:pt>
                <c:pt idx="50">
                  <c:v>98.769745550322</c:v>
                </c:pt>
                <c:pt idx="51">
                  <c:v>87.164517959944007</c:v>
                </c:pt>
                <c:pt idx="52">
                  <c:v>79.044919319667997</c:v>
                </c:pt>
                <c:pt idx="53">
                  <c:v>80.494248445153005</c:v>
                </c:pt>
                <c:pt idx="54">
                  <c:v>37.190338776437002</c:v>
                </c:pt>
                <c:pt idx="55">
                  <c:v>14.483258043379999</c:v>
                </c:pt>
                <c:pt idx="56">
                  <c:v>88.422254558619002</c:v>
                </c:pt>
                <c:pt idx="57">
                  <c:v>95.594230607022993</c:v>
                </c:pt>
                <c:pt idx="58">
                  <c:v>67.520984811331999</c:v>
                </c:pt>
                <c:pt idx="59">
                  <c:v>61.830024947696003</c:v>
                </c:pt>
                <c:pt idx="60">
                  <c:v>34.310075482165999</c:v>
                </c:pt>
                <c:pt idx="61">
                  <c:v>23.392154856065002</c:v>
                </c:pt>
                <c:pt idx="62">
                  <c:v>31.459424658336001</c:v>
                </c:pt>
                <c:pt idx="63">
                  <c:v>25.905393502927001</c:v>
                </c:pt>
                <c:pt idx="64">
                  <c:v>90.640777862674994</c:v>
                </c:pt>
                <c:pt idx="65">
                  <c:v>67.553207638825</c:v>
                </c:pt>
                <c:pt idx="66">
                  <c:v>59.273172346370004</c:v>
                </c:pt>
                <c:pt idx="67">
                  <c:v>47.796652667209003</c:v>
                </c:pt>
                <c:pt idx="68">
                  <c:v>21.208407955508999</c:v>
                </c:pt>
                <c:pt idx="69">
                  <c:v>10.223099486484999</c:v>
                </c:pt>
                <c:pt idx="70">
                  <c:v>38.242136460689999</c:v>
                </c:pt>
                <c:pt idx="71">
                  <c:v>46.849000823895999</c:v>
                </c:pt>
                <c:pt idx="72">
                  <c:v>45.907660020986</c:v>
                </c:pt>
                <c:pt idx="73">
                  <c:v>31.725093714257</c:v>
                </c:pt>
                <c:pt idx="74">
                  <c:v>37.790038545839003</c:v>
                </c:pt>
                <c:pt idx="75">
                  <c:v>11.800901926074999</c:v>
                </c:pt>
                <c:pt idx="76">
                  <c:v>9.2961936312619997</c:v>
                </c:pt>
                <c:pt idx="77">
                  <c:v>46.577801866499001</c:v>
                </c:pt>
                <c:pt idx="78">
                  <c:v>42.251213644555001</c:v>
                </c:pt>
                <c:pt idx="79">
                  <c:v>41.940078113395003</c:v>
                </c:pt>
                <c:pt idx="80">
                  <c:v>20.410698755834002</c:v>
                </c:pt>
                <c:pt idx="81">
                  <c:v>23.477145901431999</c:v>
                </c:pt>
                <c:pt idx="82">
                  <c:v>11.812168350657</c:v>
                </c:pt>
                <c:pt idx="83">
                  <c:v>5.4678173384480004</c:v>
                </c:pt>
                <c:pt idx="84">
                  <c:v>22.089684117516999</c:v>
                </c:pt>
                <c:pt idx="85">
                  <c:v>25.137558305169001</c:v>
                </c:pt>
                <c:pt idx="86">
                  <c:v>21.671126521689001</c:v>
                </c:pt>
                <c:pt idx="87">
                  <c:v>33.342859864723003</c:v>
                </c:pt>
                <c:pt idx="88">
                  <c:v>29.930869346927</c:v>
                </c:pt>
                <c:pt idx="89">
                  <c:v>9.6752034211510001</c:v>
                </c:pt>
                <c:pt idx="90">
                  <c:v>6.7878787878780003</c:v>
                </c:pt>
                <c:pt idx="91">
                  <c:v>26.366157571969001</c:v>
                </c:pt>
                <c:pt idx="92">
                  <c:v>22.610644698295001</c:v>
                </c:pt>
                <c:pt idx="93">
                  <c:v>19.776134161293999</c:v>
                </c:pt>
                <c:pt idx="94">
                  <c:v>17.914725904693</c:v>
                </c:pt>
                <c:pt idx="95">
                  <c:v>27.029191526847999</c:v>
                </c:pt>
                <c:pt idx="96">
                  <c:v>10.027374733021</c:v>
                </c:pt>
                <c:pt idx="97">
                  <c:v>6.0261535062159997</c:v>
                </c:pt>
                <c:pt idx="98">
                  <c:v>17.127600624652999</c:v>
                </c:pt>
                <c:pt idx="99">
                  <c:v>33.383239590498</c:v>
                </c:pt>
                <c:pt idx="100">
                  <c:v>9.1515496624089998</c:v>
                </c:pt>
                <c:pt idx="101">
                  <c:v>19.405576549892</c:v>
                </c:pt>
                <c:pt idx="102">
                  <c:v>16.412949817405</c:v>
                </c:pt>
                <c:pt idx="103">
                  <c:v>6.1592157265300003</c:v>
                </c:pt>
                <c:pt idx="104">
                  <c:v>3.0818540433920001</c:v>
                </c:pt>
                <c:pt idx="105">
                  <c:v>10.297070483446999</c:v>
                </c:pt>
                <c:pt idx="106">
                  <c:v>9.2867756314999994</c:v>
                </c:pt>
                <c:pt idx="107">
                  <c:v>7.2424781691010001</c:v>
                </c:pt>
                <c:pt idx="108">
                  <c:v>11.416828405068999</c:v>
                </c:pt>
                <c:pt idx="109">
                  <c:v>7.2941740389919998</c:v>
                </c:pt>
                <c:pt idx="110">
                  <c:v>4.169924420119</c:v>
                </c:pt>
                <c:pt idx="111">
                  <c:v>1.0436561361759999</c:v>
                </c:pt>
                <c:pt idx="112">
                  <c:v>6.275494195167</c:v>
                </c:pt>
                <c:pt idx="113">
                  <c:v>6.2885830774220004</c:v>
                </c:pt>
                <c:pt idx="114">
                  <c:v>12.622145554375001</c:v>
                </c:pt>
                <c:pt idx="115">
                  <c:v>3.1667282419379998</c:v>
                </c:pt>
                <c:pt idx="116">
                  <c:v>5.2969468398409996</c:v>
                </c:pt>
                <c:pt idx="117">
                  <c:v>1.0644752669169999</c:v>
                </c:pt>
                <c:pt idx="118">
                  <c:v>1.065382525595</c:v>
                </c:pt>
                <c:pt idx="119">
                  <c:v>4.2781206216100003</c:v>
                </c:pt>
                <c:pt idx="120">
                  <c:v>4.3111810480479997</c:v>
                </c:pt>
                <c:pt idx="121">
                  <c:v>1.0850223514599999</c:v>
                </c:pt>
                <c:pt idx="122">
                  <c:v>6.5749101428939998</c:v>
                </c:pt>
                <c:pt idx="123">
                  <c:v>3.3170429667630001</c:v>
                </c:pt>
                <c:pt idx="124">
                  <c:v>1.1078368377900001</c:v>
                </c:pt>
                <c:pt idx="125">
                  <c:v>1.109213124209</c:v>
                </c:pt>
                <c:pt idx="126">
                  <c:v>2.2343872193049998</c:v>
                </c:pt>
                <c:pt idx="127">
                  <c:v>1.125416404069</c:v>
                </c:pt>
                <c:pt idx="128">
                  <c:v>3.39978014755</c:v>
                </c:pt>
                <c:pt idx="129">
                  <c:v>4.5752456334989997</c:v>
                </c:pt>
                <c:pt idx="131">
                  <c:v>2.3196743177250001</c:v>
                </c:pt>
                <c:pt idx="132">
                  <c:v>1.1630611770170001</c:v>
                </c:pt>
                <c:pt idx="133">
                  <c:v>2.3407143860300001</c:v>
                </c:pt>
                <c:pt idx="135">
                  <c:v>1.1862677643590001</c:v>
                </c:pt>
                <c:pt idx="136">
                  <c:v>4.7822292361579999</c:v>
                </c:pt>
                <c:pt idx="137">
                  <c:v>4.830159516018</c:v>
                </c:pt>
                <c:pt idx="138">
                  <c:v>1.2099067161920001</c:v>
                </c:pt>
                <c:pt idx="139">
                  <c:v>1.211959617505</c:v>
                </c:pt>
                <c:pt idx="141">
                  <c:v>1.2261062543679999</c:v>
                </c:pt>
                <c:pt idx="142">
                  <c:v>4.9355296440240002</c:v>
                </c:pt>
                <c:pt idx="143">
                  <c:v>3.7274952474430001</c:v>
                </c:pt>
                <c:pt idx="145">
                  <c:v>1.257229067136</c:v>
                </c:pt>
                <c:pt idx="146">
                  <c:v>3.7776714433220002</c:v>
                </c:pt>
                <c:pt idx="147">
                  <c:v>0</c:v>
                </c:pt>
                <c:pt idx="148">
                  <c:v>3.8244817827180002</c:v>
                </c:pt>
                <c:pt idx="150">
                  <c:v>1.292975265383</c:v>
                </c:pt>
                <c:pt idx="151">
                  <c:v>2.6059310991809999</c:v>
                </c:pt>
                <c:pt idx="153">
                  <c:v>1.3089519221949999</c:v>
                </c:pt>
                <c:pt idx="154">
                  <c:v>2.6332767178830001</c:v>
                </c:pt>
                <c:pt idx="155">
                  <c:v>1.325363480934</c:v>
                </c:pt>
                <c:pt idx="156">
                  <c:v>0</c:v>
                </c:pt>
                <c:pt idx="157">
                  <c:v>1.344429356959</c:v>
                </c:pt>
                <c:pt idx="158">
                  <c:v>6.7761695668669999</c:v>
                </c:pt>
                <c:pt idx="159">
                  <c:v>1.358271192426</c:v>
                </c:pt>
                <c:pt idx="161">
                  <c:v>2.7380381956319999</c:v>
                </c:pt>
                <c:pt idx="162">
                  <c:v>4.1357063097089997</c:v>
                </c:pt>
                <c:pt idx="163">
                  <c:v>4.1667245378400004</c:v>
                </c:pt>
                <c:pt idx="164">
                  <c:v>5.6008289226799999</c:v>
                </c:pt>
                <c:pt idx="165">
                  <c:v>4.2327445115410001</c:v>
                </c:pt>
                <c:pt idx="166">
                  <c:v>4.2420814479629998</c:v>
                </c:pt>
                <c:pt idx="167">
                  <c:v>4.2479079053559996</c:v>
                </c:pt>
                <c:pt idx="168">
                  <c:v>8.5067770657290005</c:v>
                </c:pt>
                <c:pt idx="169">
                  <c:v>4.2600928700239997</c:v>
                </c:pt>
                <c:pt idx="170">
                  <c:v>7.1483716009489999</c:v>
                </c:pt>
                <c:pt idx="171">
                  <c:v>2.876580321314</c:v>
                </c:pt>
                <c:pt idx="172">
                  <c:v>4.3426652384119997</c:v>
                </c:pt>
                <c:pt idx="173">
                  <c:v>0</c:v>
                </c:pt>
                <c:pt idx="174">
                  <c:v>4.360021509439</c:v>
                </c:pt>
                <c:pt idx="175">
                  <c:v>5.8476112508040003</c:v>
                </c:pt>
                <c:pt idx="176">
                  <c:v>2.9400091140279998</c:v>
                </c:pt>
                <c:pt idx="177">
                  <c:v>0</c:v>
                </c:pt>
                <c:pt idx="178">
                  <c:v>10.427839351686</c:v>
                </c:pt>
                <c:pt idx="179">
                  <c:v>2.999985000074</c:v>
                </c:pt>
                <c:pt idx="180">
                  <c:v>1.502900598154</c:v>
                </c:pt>
                <c:pt idx="181">
                  <c:v>0</c:v>
                </c:pt>
                <c:pt idx="182">
                  <c:v>0</c:v>
                </c:pt>
                <c:pt idx="183">
                  <c:v>3.0560479188310001</c:v>
                </c:pt>
                <c:pt idx="184">
                  <c:v>10.772876973743999</c:v>
                </c:pt>
                <c:pt idx="185">
                  <c:v>0</c:v>
                </c:pt>
                <c:pt idx="186">
                  <c:v>7.8007988017969998</c:v>
                </c:pt>
                <c:pt idx="187">
                  <c:v>1.565018701973</c:v>
                </c:pt>
                <c:pt idx="188">
                  <c:v>1.5685782406819999</c:v>
                </c:pt>
                <c:pt idx="189">
                  <c:v>14.187751241428</c:v>
                </c:pt>
                <c:pt idx="190">
                  <c:v>1.585917056537</c:v>
                </c:pt>
                <c:pt idx="191">
                  <c:v>4.7876669698849996</c:v>
                </c:pt>
                <c:pt idx="192">
                  <c:v>3.2086762606080002</c:v>
                </c:pt>
                <c:pt idx="193">
                  <c:v>9.6792927663409998</c:v>
                </c:pt>
                <c:pt idx="194">
                  <c:v>6.4671549368639996</c:v>
                </c:pt>
                <c:pt idx="195">
                  <c:v>1.6198004405849999</c:v>
                </c:pt>
                <c:pt idx="196">
                  <c:v>6.5084039766339998</c:v>
                </c:pt>
                <c:pt idx="197">
                  <c:v>4.905487605467</c:v>
                </c:pt>
                <c:pt idx="198">
                  <c:v>4.9321014040040003</c:v>
                </c:pt>
                <c:pt idx="199">
                  <c:v>0</c:v>
                </c:pt>
                <c:pt idx="200">
                  <c:v>4.9871995212279998</c:v>
                </c:pt>
                <c:pt idx="201">
                  <c:v>1.66625010414</c:v>
                </c:pt>
                <c:pt idx="202">
                  <c:v>1.6693097404220001</c:v>
                </c:pt>
                <c:pt idx="203">
                  <c:v>6.7202042942100002</c:v>
                </c:pt>
                <c:pt idx="204">
                  <c:v>3.3776937107339999</c:v>
                </c:pt>
                <c:pt idx="205">
                  <c:v>3.3988172116099999</c:v>
                </c:pt>
                <c:pt idx="206">
                  <c:v>6.8345692512719998</c:v>
                </c:pt>
                <c:pt idx="207">
                  <c:v>1.7195426016669999</c:v>
                </c:pt>
                <c:pt idx="208">
                  <c:v>3.4447123665169999</c:v>
                </c:pt>
                <c:pt idx="209">
                  <c:v>3.4495843250879998</c:v>
                </c:pt>
                <c:pt idx="210">
                  <c:v>0</c:v>
                </c:pt>
                <c:pt idx="211">
                  <c:v>1.74258529955</c:v>
                </c:pt>
                <c:pt idx="212">
                  <c:v>3.5038542396630001</c:v>
                </c:pt>
                <c:pt idx="213">
                  <c:v>14.088723737738</c:v>
                </c:pt>
                <c:pt idx="214">
                  <c:v>8.8654054149890005</c:v>
                </c:pt>
                <c:pt idx="215">
                  <c:v>10.651139671944</c:v>
                </c:pt>
                <c:pt idx="216">
                  <c:v>1.7768301350389999</c:v>
                </c:pt>
                <c:pt idx="217">
                  <c:v>7.1434949549060001</c:v>
                </c:pt>
                <c:pt idx="218">
                  <c:v>8.9705407441960006</c:v>
                </c:pt>
                <c:pt idx="219">
                  <c:v>1.8017368743460001</c:v>
                </c:pt>
                <c:pt idx="220">
                  <c:v>5.4266230124990003</c:v>
                </c:pt>
                <c:pt idx="221">
                  <c:v>1.816662427787</c:v>
                </c:pt>
                <c:pt idx="222">
                  <c:v>1.8179834927089999</c:v>
                </c:pt>
                <c:pt idx="223">
                  <c:v>3.6384805705129999</c:v>
                </c:pt>
                <c:pt idx="224">
                  <c:v>3.647638154295</c:v>
                </c:pt>
                <c:pt idx="225">
                  <c:v>7.3156903268280002</c:v>
                </c:pt>
                <c:pt idx="226">
                  <c:v>5.4977276059219999</c:v>
                </c:pt>
                <c:pt idx="227">
                  <c:v>11.020498126514999</c:v>
                </c:pt>
                <c:pt idx="228">
                  <c:v>16.569093118303002</c:v>
                </c:pt>
                <c:pt idx="229">
                  <c:v>3.6828343092839999</c:v>
                </c:pt>
                <c:pt idx="230">
                  <c:v>9.2065771787359996</c:v>
                </c:pt>
                <c:pt idx="231">
                  <c:v>18.450524917433</c:v>
                </c:pt>
                <c:pt idx="232">
                  <c:v>16.630633627140998</c:v>
                </c:pt>
                <c:pt idx="233">
                  <c:v>16.656487701959001</c:v>
                </c:pt>
                <c:pt idx="234">
                  <c:v>11.121202572704</c:v>
                </c:pt>
                <c:pt idx="235">
                  <c:v>16.717127625981998</c:v>
                </c:pt>
                <c:pt idx="236">
                  <c:v>13.002451890928</c:v>
                </c:pt>
                <c:pt idx="237">
                  <c:v>11.144544745347</c:v>
                </c:pt>
                <c:pt idx="238">
                  <c:v>11.157808606389001</c:v>
                </c:pt>
                <c:pt idx="239">
                  <c:v>16.763834820347</c:v>
                </c:pt>
                <c:pt idx="240">
                  <c:v>26.113069591329999</c:v>
                </c:pt>
                <c:pt idx="241">
                  <c:v>35.496104769554996</c:v>
                </c:pt>
                <c:pt idx="242">
                  <c:v>31.831033385135999</c:v>
                </c:pt>
                <c:pt idx="243">
                  <c:v>13.113034356149999</c:v>
                </c:pt>
                <c:pt idx="244">
                  <c:v>11.244167088322</c:v>
                </c:pt>
                <c:pt idx="245">
                  <c:v>16.900456312319999</c:v>
                </c:pt>
                <c:pt idx="246">
                  <c:v>30.093855210939001</c:v>
                </c:pt>
                <c:pt idx="247">
                  <c:v>24.485798237021999</c:v>
                </c:pt>
                <c:pt idx="248">
                  <c:v>18.872553645233001</c:v>
                </c:pt>
                <c:pt idx="249">
                  <c:v>17.027717339892</c:v>
                </c:pt>
                <c:pt idx="250">
                  <c:v>13.250799780415001</c:v>
                </c:pt>
                <c:pt idx="251">
                  <c:v>9.4689796227550005</c:v>
                </c:pt>
                <c:pt idx="252">
                  <c:v>34.144583341237002</c:v>
                </c:pt>
                <c:pt idx="253">
                  <c:v>51.228536192012001</c:v>
                </c:pt>
                <c:pt idx="254">
                  <c:v>28.521990454640001</c:v>
                </c:pt>
                <c:pt idx="255">
                  <c:v>45.707320789213</c:v>
                </c:pt>
                <c:pt idx="256">
                  <c:v>22.892462656669998</c:v>
                </c:pt>
                <c:pt idx="257">
                  <c:v>17.176228100309</c:v>
                </c:pt>
                <c:pt idx="258">
                  <c:v>28.635790920544999</c:v>
                </c:pt>
                <c:pt idx="259">
                  <c:v>97.510611448892007</c:v>
                </c:pt>
                <c:pt idx="260">
                  <c:v>82.343929528915993</c:v>
                </c:pt>
                <c:pt idx="261">
                  <c:v>80.536912751676994</c:v>
                </c:pt>
                <c:pt idx="262">
                  <c:v>105.614870573776</c:v>
                </c:pt>
                <c:pt idx="263">
                  <c:v>98.125986069958003</c:v>
                </c:pt>
                <c:pt idx="264">
                  <c:v>63.520172466891999</c:v>
                </c:pt>
                <c:pt idx="265">
                  <c:v>34.656038814763001</c:v>
                </c:pt>
                <c:pt idx="266">
                  <c:v>121.4879379833</c:v>
                </c:pt>
                <c:pt idx="267">
                  <c:v>142.887485759524</c:v>
                </c:pt>
                <c:pt idx="268">
                  <c:v>150.785826132343</c:v>
                </c:pt>
                <c:pt idx="269">
                  <c:v>81.319702602229995</c:v>
                </c:pt>
                <c:pt idx="270">
                  <c:v>168.82058446850601</c:v>
                </c:pt>
                <c:pt idx="271">
                  <c:v>128.13543527218999</c:v>
                </c:pt>
                <c:pt idx="272">
                  <c:v>67.969083776749997</c:v>
                </c:pt>
                <c:pt idx="273">
                  <c:v>227.56447660170301</c:v>
                </c:pt>
                <c:pt idx="274">
                  <c:v>241.42832109966699</c:v>
                </c:pt>
                <c:pt idx="275">
                  <c:v>234.04130829091301</c:v>
                </c:pt>
                <c:pt idx="276">
                  <c:v>191.55590304925701</c:v>
                </c:pt>
                <c:pt idx="277">
                  <c:v>203.87759502852299</c:v>
                </c:pt>
                <c:pt idx="278">
                  <c:v>107.92990443297499</c:v>
                </c:pt>
                <c:pt idx="279">
                  <c:v>51.068510370835</c:v>
                </c:pt>
                <c:pt idx="280">
                  <c:v>236.19257568003701</c:v>
                </c:pt>
                <c:pt idx="281">
                  <c:v>238.89908981421101</c:v>
                </c:pt>
                <c:pt idx="282">
                  <c:v>281.31624304138501</c:v>
                </c:pt>
                <c:pt idx="283">
                  <c:v>216.17976636718799</c:v>
                </c:pt>
                <c:pt idx="284">
                  <c:v>318.293944457706</c:v>
                </c:pt>
                <c:pt idx="285">
                  <c:v>181.274900398406</c:v>
                </c:pt>
                <c:pt idx="286">
                  <c:v>87.743788138634997</c:v>
                </c:pt>
                <c:pt idx="287">
                  <c:v>326.11087769841703</c:v>
                </c:pt>
                <c:pt idx="288">
                  <c:v>407.352410001203</c:v>
                </c:pt>
                <c:pt idx="289">
                  <c:v>251.60017712652399</c:v>
                </c:pt>
                <c:pt idx="290">
                  <c:v>325.252525252525</c:v>
                </c:pt>
                <c:pt idx="291">
                  <c:v>584.51047247929796</c:v>
                </c:pt>
                <c:pt idx="292">
                  <c:v>308.96192857288003</c:v>
                </c:pt>
                <c:pt idx="293">
                  <c:v>160.75861788287</c:v>
                </c:pt>
                <c:pt idx="294">
                  <c:v>377.78231570349101</c:v>
                </c:pt>
                <c:pt idx="295">
                  <c:v>475.00102370910201</c:v>
                </c:pt>
                <c:pt idx="296">
                  <c:v>318.36013720294898</c:v>
                </c:pt>
                <c:pt idx="297">
                  <c:v>490.63060463006798</c:v>
                </c:pt>
                <c:pt idx="298">
                  <c:v>329.43126489174301</c:v>
                </c:pt>
                <c:pt idx="299">
                  <c:v>193.00211679741</c:v>
                </c:pt>
                <c:pt idx="300">
                  <c:v>137.14855682314001</c:v>
                </c:pt>
                <c:pt idx="301">
                  <c:v>407.08962234608799</c:v>
                </c:pt>
                <c:pt idx="302">
                  <c:v>390.34627492130102</c:v>
                </c:pt>
                <c:pt idx="303">
                  <c:v>351.18709650284899</c:v>
                </c:pt>
                <c:pt idx="304">
                  <c:v>272.64657395274099</c:v>
                </c:pt>
                <c:pt idx="305">
                  <c:v>278.78271972760098</c:v>
                </c:pt>
                <c:pt idx="306">
                  <c:v>183.380600038381</c:v>
                </c:pt>
                <c:pt idx="307">
                  <c:v>102.513721888815</c:v>
                </c:pt>
                <c:pt idx="308">
                  <c:v>337.24277183485799</c:v>
                </c:pt>
                <c:pt idx="309">
                  <c:v>317.49460043196501</c:v>
                </c:pt>
                <c:pt idx="310">
                  <c:v>245.56142295238701</c:v>
                </c:pt>
                <c:pt idx="311">
                  <c:v>225.33855477039501</c:v>
                </c:pt>
                <c:pt idx="312">
                  <c:v>189.615257413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00-4031-9260-04D76AD8008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4</c:f>
              <c:numCache>
                <c:formatCode>m/d/yyyy</c:formatCode>
                <c:ptCount val="31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</c:numCache>
            </c:numRef>
          </c:cat>
          <c:val>
            <c:numRef>
              <c:f>List1!$C$2:$C$314</c:f>
              <c:numCache>
                <c:formatCode>General</c:formatCode>
                <c:ptCount val="3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59255449109</c:v>
                </c:pt>
                <c:pt idx="9">
                  <c:v>10.294950326864001</c:v>
                </c:pt>
                <c:pt idx="10">
                  <c:v>12.49011199467</c:v>
                </c:pt>
                <c:pt idx="11">
                  <c:v>20.277120648867001</c:v>
                </c:pt>
                <c:pt idx="12">
                  <c:v>3.3108197589719999</c:v>
                </c:pt>
                <c:pt idx="13">
                  <c:v>0</c:v>
                </c:pt>
                <c:pt idx="14">
                  <c:v>8.3684342659480002</c:v>
                </c:pt>
                <c:pt idx="15">
                  <c:v>14.284353871059</c:v>
                </c:pt>
                <c:pt idx="16">
                  <c:v>4.1905001361909999</c:v>
                </c:pt>
                <c:pt idx="17">
                  <c:v>18.553219911315001</c:v>
                </c:pt>
                <c:pt idx="18">
                  <c:v>10.186411327288999</c:v>
                </c:pt>
                <c:pt idx="19">
                  <c:v>6.7069081153579999</c:v>
                </c:pt>
                <c:pt idx="20">
                  <c:v>1.6591452083880001</c:v>
                </c:pt>
                <c:pt idx="21">
                  <c:v>13.908850665306</c:v>
                </c:pt>
                <c:pt idx="22">
                  <c:v>20.465442638287001</c:v>
                </c:pt>
                <c:pt idx="23">
                  <c:v>19.483682415975998</c:v>
                </c:pt>
                <c:pt idx="24">
                  <c:v>14.659239318745</c:v>
                </c:pt>
                <c:pt idx="25">
                  <c:v>26.942074539739</c:v>
                </c:pt>
                <c:pt idx="26">
                  <c:v>11.492344821421</c:v>
                </c:pt>
                <c:pt idx="27">
                  <c:v>14.02774943889</c:v>
                </c:pt>
                <c:pt idx="28">
                  <c:v>24.861397707778998</c:v>
                </c:pt>
                <c:pt idx="29">
                  <c:v>15.843997562461</c:v>
                </c:pt>
                <c:pt idx="30">
                  <c:v>22.800091200364001</c:v>
                </c:pt>
                <c:pt idx="31">
                  <c:v>12.975064285545001</c:v>
                </c:pt>
                <c:pt idx="32">
                  <c:v>18.590168124832001</c:v>
                </c:pt>
                <c:pt idx="33">
                  <c:v>10.445803688529001</c:v>
                </c:pt>
                <c:pt idx="34">
                  <c:v>4.6376273898270002</c:v>
                </c:pt>
                <c:pt idx="35">
                  <c:v>16.061861110792002</c:v>
                </c:pt>
                <c:pt idx="36">
                  <c:v>19.264547566434</c:v>
                </c:pt>
                <c:pt idx="37">
                  <c:v>6.7350649933769997</c:v>
                </c:pt>
                <c:pt idx="38">
                  <c:v>16.672780019339999</c:v>
                </c:pt>
                <c:pt idx="39">
                  <c:v>17.583190469910001</c:v>
                </c:pt>
                <c:pt idx="40">
                  <c:v>7.6891813218799996</c:v>
                </c:pt>
                <c:pt idx="41">
                  <c:v>8.7834870443560007</c:v>
                </c:pt>
                <c:pt idx="42">
                  <c:v>21.824768930257999</c:v>
                </c:pt>
                <c:pt idx="43">
                  <c:v>11.923085260898</c:v>
                </c:pt>
                <c:pt idx="44">
                  <c:v>8.6068704343239997</c:v>
                </c:pt>
                <c:pt idx="45">
                  <c:v>13.894529830486</c:v>
                </c:pt>
                <c:pt idx="46">
                  <c:v>16.937131485068001</c:v>
                </c:pt>
                <c:pt idx="47">
                  <c:v>3.1748383478140001</c:v>
                </c:pt>
                <c:pt idx="48">
                  <c:v>4.2314609118790001</c:v>
                </c:pt>
                <c:pt idx="49">
                  <c:v>14.682285822155</c:v>
                </c:pt>
                <c:pt idx="50">
                  <c:v>14.565278456912001</c:v>
                </c:pt>
                <c:pt idx="51">
                  <c:v>16.498757437329999</c:v>
                </c:pt>
                <c:pt idx="52">
                  <c:v>10.17863504504</c:v>
                </c:pt>
                <c:pt idx="53">
                  <c:v>8.0265679398809997</c:v>
                </c:pt>
                <c:pt idx="54">
                  <c:v>8.0123390020629994</c:v>
                </c:pt>
                <c:pt idx="55">
                  <c:v>3.9970421887800001</c:v>
                </c:pt>
                <c:pt idx="56">
                  <c:v>9.8557123708900001</c:v>
                </c:pt>
                <c:pt idx="57">
                  <c:v>5.8337951754509998</c:v>
                </c:pt>
                <c:pt idx="58">
                  <c:v>11.489410593236</c:v>
                </c:pt>
                <c:pt idx="59">
                  <c:v>4.7127574343739997</c:v>
                </c:pt>
                <c:pt idx="60">
                  <c:v>2.7714906000270001</c:v>
                </c:pt>
                <c:pt idx="61">
                  <c:v>8.2965366568639993</c:v>
                </c:pt>
                <c:pt idx="62">
                  <c:v>0.92048822695499999</c:v>
                </c:pt>
                <c:pt idx="63">
                  <c:v>1.8138779804280001</c:v>
                </c:pt>
                <c:pt idx="64">
                  <c:v>8.0415300351140004</c:v>
                </c:pt>
                <c:pt idx="65">
                  <c:v>6.1560109049329998</c:v>
                </c:pt>
                <c:pt idx="66">
                  <c:v>8.6507435314060004</c:v>
                </c:pt>
                <c:pt idx="67">
                  <c:v>4.239983040067</c:v>
                </c:pt>
                <c:pt idx="68">
                  <c:v>4.2270071943660001</c:v>
                </c:pt>
                <c:pt idx="69">
                  <c:v>1.6880913595039999</c:v>
                </c:pt>
                <c:pt idx="70">
                  <c:v>7.489390030789</c:v>
                </c:pt>
                <c:pt idx="71">
                  <c:v>4.1007471561309998</c:v>
                </c:pt>
                <c:pt idx="72">
                  <c:v>4.039033217009</c:v>
                </c:pt>
                <c:pt idx="73">
                  <c:v>4.7602802218290003</c:v>
                </c:pt>
                <c:pt idx="74">
                  <c:v>3.9435908761079999</c:v>
                </c:pt>
                <c:pt idx="75">
                  <c:v>4.7140904162539998</c:v>
                </c:pt>
                <c:pt idx="76">
                  <c:v>3.134059390425</c:v>
                </c:pt>
                <c:pt idx="77">
                  <c:v>5.4721273285849996</c:v>
                </c:pt>
                <c:pt idx="78">
                  <c:v>5.3814692948729999</c:v>
                </c:pt>
                <c:pt idx="79">
                  <c:v>9.1154240571230005</c:v>
                </c:pt>
                <c:pt idx="80">
                  <c:v>2.9972874548530002</c:v>
                </c:pt>
                <c:pt idx="81">
                  <c:v>3.6916988459739999</c:v>
                </c:pt>
                <c:pt idx="82">
                  <c:v>0.73434918303600005</c:v>
                </c:pt>
                <c:pt idx="83">
                  <c:v>0.73237002262999995</c:v>
                </c:pt>
                <c:pt idx="84">
                  <c:v>5.0845118505439997</c:v>
                </c:pt>
                <c:pt idx="85">
                  <c:v>5.0374933433119997</c:v>
                </c:pt>
                <c:pt idx="86">
                  <c:v>2.1385799828910002</c:v>
                </c:pt>
                <c:pt idx="87">
                  <c:v>7.0677371932600002</c:v>
                </c:pt>
                <c:pt idx="88">
                  <c:v>4.1978297220330001</c:v>
                </c:pt>
                <c:pt idx="89">
                  <c:v>1.3968724026899999</c:v>
                </c:pt>
                <c:pt idx="90">
                  <c:v>2.7894975417549999</c:v>
                </c:pt>
                <c:pt idx="91">
                  <c:v>4.8576702613420002</c:v>
                </c:pt>
                <c:pt idx="92">
                  <c:v>7.598259307867</c:v>
                </c:pt>
                <c:pt idx="93">
                  <c:v>5.504107440177</c:v>
                </c:pt>
                <c:pt idx="94">
                  <c:v>2.054977497996</c:v>
                </c:pt>
                <c:pt idx="95">
                  <c:v>2.7293135094190002</c:v>
                </c:pt>
                <c:pt idx="96">
                  <c:v>0</c:v>
                </c:pt>
                <c:pt idx="97">
                  <c:v>0</c:v>
                </c:pt>
                <c:pt idx="98">
                  <c:v>2.7182776992490001</c:v>
                </c:pt>
                <c:pt idx="99">
                  <c:v>2.0333468889790001</c:v>
                </c:pt>
                <c:pt idx="100">
                  <c:v>4.0531229312179997</c:v>
                </c:pt>
                <c:pt idx="101">
                  <c:v>4.0416560011850002</c:v>
                </c:pt>
                <c:pt idx="102">
                  <c:v>1.3434901186299999</c:v>
                </c:pt>
                <c:pt idx="103">
                  <c:v>1.342993936382</c:v>
                </c:pt>
                <c:pt idx="104">
                  <c:v>0.67124455452800003</c:v>
                </c:pt>
                <c:pt idx="105">
                  <c:v>4.691940586626</c:v>
                </c:pt>
                <c:pt idx="106">
                  <c:v>2.0082875332199999</c:v>
                </c:pt>
                <c:pt idx="107">
                  <c:v>2.004985731184</c:v>
                </c:pt>
                <c:pt idx="108">
                  <c:v>2.6681608367349998</c:v>
                </c:pt>
                <c:pt idx="109">
                  <c:v>0.66541125742700002</c:v>
                </c:pt>
                <c:pt idx="110">
                  <c:v>0.66528730432200001</c:v>
                </c:pt>
                <c:pt idx="111">
                  <c:v>0</c:v>
                </c:pt>
                <c:pt idx="112">
                  <c:v>1.9920583274670001</c:v>
                </c:pt>
                <c:pt idx="113">
                  <c:v>1.3264094758689999</c:v>
                </c:pt>
                <c:pt idx="114">
                  <c:v>0.66177833073000003</c:v>
                </c:pt>
                <c:pt idx="115">
                  <c:v>1.981113385722</c:v>
                </c:pt>
                <c:pt idx="116">
                  <c:v>2.6357927476160001</c:v>
                </c:pt>
                <c:pt idx="117">
                  <c:v>0.65705612573399996</c:v>
                </c:pt>
                <c:pt idx="118">
                  <c:v>0</c:v>
                </c:pt>
                <c:pt idx="119">
                  <c:v>1.3105301094290001</c:v>
                </c:pt>
                <c:pt idx="120">
                  <c:v>0</c:v>
                </c:pt>
                <c:pt idx="121">
                  <c:v>0</c:v>
                </c:pt>
                <c:pt idx="122">
                  <c:v>1.937533906843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73683403699999</c:v>
                </c:pt>
                <c:pt idx="127">
                  <c:v>0.63609994402299996</c:v>
                </c:pt>
                <c:pt idx="128">
                  <c:v>0</c:v>
                </c:pt>
                <c:pt idx="129">
                  <c:v>0</c:v>
                </c:pt>
                <c:pt idx="131">
                  <c:v>0.62569608689599998</c:v>
                </c:pt>
                <c:pt idx="132">
                  <c:v>0.62478132653499996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61217868271300002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71993677500002</c:v>
                </c:pt>
                <c:pt idx="148">
                  <c:v>0</c:v>
                </c:pt>
                <c:pt idx="150">
                  <c:v>0.59309166824799997</c:v>
                </c:pt>
                <c:pt idx="151">
                  <c:v>1.181921331316</c:v>
                </c:pt>
                <c:pt idx="153">
                  <c:v>0.589633071339</c:v>
                </c:pt>
                <c:pt idx="154">
                  <c:v>1.1760693410480001</c:v>
                </c:pt>
                <c:pt idx="155">
                  <c:v>0</c:v>
                </c:pt>
                <c:pt idx="156">
                  <c:v>0.58438864182200001</c:v>
                </c:pt>
                <c:pt idx="157">
                  <c:v>1.747518523696</c:v>
                </c:pt>
                <c:pt idx="158">
                  <c:v>1.1609008590659999</c:v>
                </c:pt>
                <c:pt idx="159">
                  <c:v>0</c:v>
                </c:pt>
                <c:pt idx="161">
                  <c:v>2.8890378348389998</c:v>
                </c:pt>
                <c:pt idx="162">
                  <c:v>0.57607336870400006</c:v>
                </c:pt>
                <c:pt idx="163">
                  <c:v>2.2969496508630001</c:v>
                </c:pt>
                <c:pt idx="164">
                  <c:v>0.57227881423799998</c:v>
                </c:pt>
                <c:pt idx="165">
                  <c:v>2.8523183643659999</c:v>
                </c:pt>
                <c:pt idx="166">
                  <c:v>0</c:v>
                </c:pt>
                <c:pt idx="167">
                  <c:v>0.56954419378099996</c:v>
                </c:pt>
                <c:pt idx="168">
                  <c:v>2.2768022312660001</c:v>
                </c:pt>
                <c:pt idx="169">
                  <c:v>2.8439631194859998</c:v>
                </c:pt>
                <c:pt idx="170">
                  <c:v>1.1344235143300001</c:v>
                </c:pt>
                <c:pt idx="171">
                  <c:v>2.8290944068799999</c:v>
                </c:pt>
                <c:pt idx="172">
                  <c:v>1.693050029628</c:v>
                </c:pt>
                <c:pt idx="173">
                  <c:v>0.56378048642900003</c:v>
                </c:pt>
                <c:pt idx="174">
                  <c:v>0</c:v>
                </c:pt>
                <c:pt idx="175">
                  <c:v>2.8102991844509999</c:v>
                </c:pt>
                <c:pt idx="176">
                  <c:v>1.6824725616759999</c:v>
                </c:pt>
                <c:pt idx="177">
                  <c:v>1.1185682326619999</c:v>
                </c:pt>
                <c:pt idx="178">
                  <c:v>0.55791740590700001</c:v>
                </c:pt>
                <c:pt idx="179">
                  <c:v>1.112879352749</c:v>
                </c:pt>
                <c:pt idx="180">
                  <c:v>0.55599417318099997</c:v>
                </c:pt>
                <c:pt idx="181">
                  <c:v>0.55550000555500001</c:v>
                </c:pt>
                <c:pt idx="182">
                  <c:v>1.108309550857</c:v>
                </c:pt>
                <c:pt idx="183">
                  <c:v>2.210934174962</c:v>
                </c:pt>
                <c:pt idx="184">
                  <c:v>2.2053877623029998</c:v>
                </c:pt>
                <c:pt idx="185">
                  <c:v>1.6499018308410001</c:v>
                </c:pt>
                <c:pt idx="186">
                  <c:v>0.54874502013799997</c:v>
                </c:pt>
                <c:pt idx="187">
                  <c:v>0</c:v>
                </c:pt>
                <c:pt idx="188">
                  <c:v>1.0955542408900001</c:v>
                </c:pt>
                <c:pt idx="189">
                  <c:v>1.6405814220549999</c:v>
                </c:pt>
                <c:pt idx="190">
                  <c:v>1.0915183566090001</c:v>
                </c:pt>
                <c:pt idx="191">
                  <c:v>2.178483122202</c:v>
                </c:pt>
                <c:pt idx="192">
                  <c:v>1.087352459863</c:v>
                </c:pt>
                <c:pt idx="193">
                  <c:v>1.628089979106</c:v>
                </c:pt>
                <c:pt idx="194">
                  <c:v>0.54232581850499995</c:v>
                </c:pt>
                <c:pt idx="195">
                  <c:v>0.54202010894599995</c:v>
                </c:pt>
                <c:pt idx="196">
                  <c:v>1.6237192914080001</c:v>
                </c:pt>
                <c:pt idx="197">
                  <c:v>0.54038572733199997</c:v>
                </c:pt>
                <c:pt idx="198">
                  <c:v>0</c:v>
                </c:pt>
                <c:pt idx="199">
                  <c:v>1.6158395363610001</c:v>
                </c:pt>
                <c:pt idx="200">
                  <c:v>0.53757082495599995</c:v>
                </c:pt>
                <c:pt idx="201">
                  <c:v>0.53720118184200005</c:v>
                </c:pt>
                <c:pt idx="202">
                  <c:v>1.073831268892</c:v>
                </c:pt>
                <c:pt idx="203">
                  <c:v>2.143381505832</c:v>
                </c:pt>
                <c:pt idx="204">
                  <c:v>1.604964690776</c:v>
                </c:pt>
                <c:pt idx="205">
                  <c:v>2.135873599</c:v>
                </c:pt>
                <c:pt idx="206">
                  <c:v>0.53309450699399996</c:v>
                </c:pt>
                <c:pt idx="207">
                  <c:v>1.596220150683</c:v>
                </c:pt>
                <c:pt idx="208">
                  <c:v>0.53183568404699999</c:v>
                </c:pt>
                <c:pt idx="209">
                  <c:v>0</c:v>
                </c:pt>
                <c:pt idx="210">
                  <c:v>0.53070387254600004</c:v>
                </c:pt>
                <c:pt idx="211">
                  <c:v>3.180172683376</c:v>
                </c:pt>
                <c:pt idx="212">
                  <c:v>2.6455726341960002</c:v>
                </c:pt>
                <c:pt idx="213">
                  <c:v>2.1129141311690001</c:v>
                </c:pt>
                <c:pt idx="214">
                  <c:v>4.2168071390539996</c:v>
                </c:pt>
                <c:pt idx="215">
                  <c:v>1.5805778592649999</c:v>
                </c:pt>
                <c:pt idx="216">
                  <c:v>1.053313460819</c:v>
                </c:pt>
                <c:pt idx="217">
                  <c:v>1.577436350443</c:v>
                </c:pt>
                <c:pt idx="218">
                  <c:v>3.6753124015540002</c:v>
                </c:pt>
                <c:pt idx="219">
                  <c:v>0.52433985612099998</c:v>
                </c:pt>
                <c:pt idx="220">
                  <c:v>2.0947233917760002</c:v>
                </c:pt>
                <c:pt idx="221">
                  <c:v>2.0919079769679998</c:v>
                </c:pt>
                <c:pt idx="222">
                  <c:v>1.5684306283130001</c:v>
                </c:pt>
                <c:pt idx="223">
                  <c:v>1.567955177387</c:v>
                </c:pt>
                <c:pt idx="224">
                  <c:v>3.6555242805139998</c:v>
                </c:pt>
                <c:pt idx="225">
                  <c:v>3.1304783370889999</c:v>
                </c:pt>
                <c:pt idx="226">
                  <c:v>2.6069637214919998</c:v>
                </c:pt>
                <c:pt idx="227">
                  <c:v>5.2100157342470004</c:v>
                </c:pt>
                <c:pt idx="228">
                  <c:v>1.561808574329</c:v>
                </c:pt>
                <c:pt idx="229">
                  <c:v>1.561548431424</c:v>
                </c:pt>
                <c:pt idx="230">
                  <c:v>2.0818695188270002</c:v>
                </c:pt>
                <c:pt idx="231">
                  <c:v>4.1609237250659996</c:v>
                </c:pt>
                <c:pt idx="232">
                  <c:v>5.1983697912329996</c:v>
                </c:pt>
                <c:pt idx="233">
                  <c:v>4.1564487302039996</c:v>
                </c:pt>
                <c:pt idx="234">
                  <c:v>4.1542256263789996</c:v>
                </c:pt>
                <c:pt idx="235">
                  <c:v>3.1135027424759998</c:v>
                </c:pt>
                <c:pt idx="236">
                  <c:v>2.0754315600500002</c:v>
                </c:pt>
                <c:pt idx="237">
                  <c:v>2.0752377444240002</c:v>
                </c:pt>
                <c:pt idx="238">
                  <c:v>6.2229689784989999</c:v>
                </c:pt>
                <c:pt idx="239">
                  <c:v>5.1829315697540004</c:v>
                </c:pt>
                <c:pt idx="240">
                  <c:v>5.1803808615999998</c:v>
                </c:pt>
                <c:pt idx="241">
                  <c:v>9.3195679862479999</c:v>
                </c:pt>
                <c:pt idx="242">
                  <c:v>2.0696006705499999</c:v>
                </c:pt>
                <c:pt idx="243">
                  <c:v>3.621501370996</c:v>
                </c:pt>
                <c:pt idx="244">
                  <c:v>5.1732522167379997</c:v>
                </c:pt>
                <c:pt idx="245">
                  <c:v>5.170604081674</c:v>
                </c:pt>
                <c:pt idx="246">
                  <c:v>6.2022555536019999</c:v>
                </c:pt>
                <c:pt idx="247">
                  <c:v>7.2334972926049996</c:v>
                </c:pt>
                <c:pt idx="248">
                  <c:v>10.328444536252</c:v>
                </c:pt>
                <c:pt idx="249">
                  <c:v>8.2575104638140004</c:v>
                </c:pt>
                <c:pt idx="250">
                  <c:v>3.6123066125849999</c:v>
                </c:pt>
                <c:pt idx="251">
                  <c:v>2.5800326116119998</c:v>
                </c:pt>
                <c:pt idx="252">
                  <c:v>11.347576260869999</c:v>
                </c:pt>
                <c:pt idx="253">
                  <c:v>17.021101007338999</c:v>
                </c:pt>
                <c:pt idx="254">
                  <c:v>16.496375952407</c:v>
                </c:pt>
                <c:pt idx="255">
                  <c:v>11.852248835387</c:v>
                </c:pt>
                <c:pt idx="256">
                  <c:v>12.877570363044001</c:v>
                </c:pt>
                <c:pt idx="257">
                  <c:v>7.7260248571970003</c:v>
                </c:pt>
                <c:pt idx="258">
                  <c:v>8.2407960608989992</c:v>
                </c:pt>
                <c:pt idx="259">
                  <c:v>20.594459060788999</c:v>
                </c:pt>
                <c:pt idx="260">
                  <c:v>29.850746268656</c:v>
                </c:pt>
                <c:pt idx="261">
                  <c:v>24.181806020755001</c:v>
                </c:pt>
                <c:pt idx="262">
                  <c:v>32.403073662986998</c:v>
                </c:pt>
                <c:pt idx="263">
                  <c:v>28.274872891594001</c:v>
                </c:pt>
                <c:pt idx="264">
                  <c:v>22.104332449160001</c:v>
                </c:pt>
                <c:pt idx="265">
                  <c:v>13.365135501912</c:v>
                </c:pt>
                <c:pt idx="266">
                  <c:v>57.551295161066001</c:v>
                </c:pt>
                <c:pt idx="267">
                  <c:v>51.369511167730998</c:v>
                </c:pt>
                <c:pt idx="268">
                  <c:v>44.166208741826999</c:v>
                </c:pt>
                <c:pt idx="269">
                  <c:v>28.235390752139001</c:v>
                </c:pt>
                <c:pt idx="270">
                  <c:v>58.492734586650997</c:v>
                </c:pt>
                <c:pt idx="271">
                  <c:v>37.452607060585997</c:v>
                </c:pt>
                <c:pt idx="272">
                  <c:v>31.808084383769</c:v>
                </c:pt>
                <c:pt idx="273">
                  <c:v>95.396845749454997</c:v>
                </c:pt>
                <c:pt idx="274">
                  <c:v>75.383069065249003</c:v>
                </c:pt>
                <c:pt idx="275">
                  <c:v>72.795127852850996</c:v>
                </c:pt>
                <c:pt idx="276">
                  <c:v>74.811561973180005</c:v>
                </c:pt>
                <c:pt idx="277">
                  <c:v>92.686473919766996</c:v>
                </c:pt>
                <c:pt idx="278">
                  <c:v>53.248681583123997</c:v>
                </c:pt>
                <c:pt idx="279">
                  <c:v>30.716775967194</c:v>
                </c:pt>
                <c:pt idx="280">
                  <c:v>100.299362894353</c:v>
                </c:pt>
                <c:pt idx="281">
                  <c:v>112.50434675885199</c:v>
                </c:pt>
                <c:pt idx="282">
                  <c:v>110.37527593818901</c:v>
                </c:pt>
                <c:pt idx="283">
                  <c:v>79.702444208288995</c:v>
                </c:pt>
                <c:pt idx="284">
                  <c:v>110.284544335918</c:v>
                </c:pt>
                <c:pt idx="285">
                  <c:v>77.590211382278994</c:v>
                </c:pt>
                <c:pt idx="286">
                  <c:v>43.893003149066999</c:v>
                </c:pt>
                <c:pt idx="287">
                  <c:v>115.264956393124</c:v>
                </c:pt>
                <c:pt idx="288">
                  <c:v>146.28228913943099</c:v>
                </c:pt>
                <c:pt idx="289">
                  <c:v>91.175811413784999</c:v>
                </c:pt>
                <c:pt idx="290">
                  <c:v>115.53221160208</c:v>
                </c:pt>
                <c:pt idx="291">
                  <c:v>144.392585135698</c:v>
                </c:pt>
                <c:pt idx="292">
                  <c:v>88.442946675002005</c:v>
                </c:pt>
                <c:pt idx="293">
                  <c:v>65.051227841924998</c:v>
                </c:pt>
                <c:pt idx="294">
                  <c:v>138.63779479575001</c:v>
                </c:pt>
                <c:pt idx="295">
                  <c:v>159.37468277332201</c:v>
                </c:pt>
                <c:pt idx="296">
                  <c:v>107.531790353586</c:v>
                </c:pt>
                <c:pt idx="297">
                  <c:v>155.08983553381799</c:v>
                </c:pt>
                <c:pt idx="298">
                  <c:v>122.009872168079</c:v>
                </c:pt>
                <c:pt idx="299">
                  <c:v>83.004352667274006</c:v>
                </c:pt>
                <c:pt idx="300">
                  <c:v>69.325317909714997</c:v>
                </c:pt>
                <c:pt idx="301">
                  <c:v>141.039445548158</c:v>
                </c:pt>
                <c:pt idx="302">
                  <c:v>112.09630183191599</c:v>
                </c:pt>
                <c:pt idx="303">
                  <c:v>117.122620315726</c:v>
                </c:pt>
                <c:pt idx="304">
                  <c:v>95.820221092552003</c:v>
                </c:pt>
                <c:pt idx="305">
                  <c:v>113.30617342391101</c:v>
                </c:pt>
                <c:pt idx="306">
                  <c:v>63.432610402948001</c:v>
                </c:pt>
                <c:pt idx="307">
                  <c:v>49.829873764318997</c:v>
                </c:pt>
                <c:pt idx="308">
                  <c:v>128.701422754009</c:v>
                </c:pt>
                <c:pt idx="309">
                  <c:v>105.458745543112</c:v>
                </c:pt>
                <c:pt idx="310">
                  <c:v>80.750731019816001</c:v>
                </c:pt>
                <c:pt idx="311">
                  <c:v>77.134213531544006</c:v>
                </c:pt>
                <c:pt idx="312">
                  <c:v>64.50903126437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00-4031-9260-04D76AD80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357</c:v>
                </c:pt>
                <c:pt idx="1">
                  <c:v>44358</c:v>
                </c:pt>
                <c:pt idx="2">
                  <c:v>44359</c:v>
                </c:pt>
                <c:pt idx="3">
                  <c:v>44360</c:v>
                </c:pt>
                <c:pt idx="4">
                  <c:v>44361</c:v>
                </c:pt>
                <c:pt idx="5">
                  <c:v>44362</c:v>
                </c:pt>
                <c:pt idx="6">
                  <c:v>44363</c:v>
                </c:pt>
                <c:pt idx="7">
                  <c:v>44364</c:v>
                </c:pt>
                <c:pt idx="8">
                  <c:v>44365</c:v>
                </c:pt>
                <c:pt idx="9">
                  <c:v>44366</c:v>
                </c:pt>
                <c:pt idx="10">
                  <c:v>44367</c:v>
                </c:pt>
                <c:pt idx="11">
                  <c:v>44368</c:v>
                </c:pt>
                <c:pt idx="12">
                  <c:v>44369</c:v>
                </c:pt>
                <c:pt idx="13">
                  <c:v>44370</c:v>
                </c:pt>
                <c:pt idx="14">
                  <c:v>44371</c:v>
                </c:pt>
                <c:pt idx="15">
                  <c:v>44372</c:v>
                </c:pt>
                <c:pt idx="16">
                  <c:v>44373</c:v>
                </c:pt>
                <c:pt idx="17">
                  <c:v>44374</c:v>
                </c:pt>
                <c:pt idx="18">
                  <c:v>44375</c:v>
                </c:pt>
                <c:pt idx="19">
                  <c:v>44376</c:v>
                </c:pt>
                <c:pt idx="20">
                  <c:v>44377</c:v>
                </c:pt>
                <c:pt idx="21">
                  <c:v>44378</c:v>
                </c:pt>
                <c:pt idx="22">
                  <c:v>44379</c:v>
                </c:pt>
                <c:pt idx="23">
                  <c:v>44380</c:v>
                </c:pt>
                <c:pt idx="24">
                  <c:v>44381</c:v>
                </c:pt>
                <c:pt idx="25">
                  <c:v>44382</c:v>
                </c:pt>
                <c:pt idx="26">
                  <c:v>44383</c:v>
                </c:pt>
                <c:pt idx="27">
                  <c:v>44384</c:v>
                </c:pt>
                <c:pt idx="28">
                  <c:v>44385</c:v>
                </c:pt>
                <c:pt idx="29">
                  <c:v>44386</c:v>
                </c:pt>
                <c:pt idx="30">
                  <c:v>44387</c:v>
                </c:pt>
                <c:pt idx="31">
                  <c:v>44388</c:v>
                </c:pt>
                <c:pt idx="32">
                  <c:v>44389</c:v>
                </c:pt>
                <c:pt idx="33">
                  <c:v>44390</c:v>
                </c:pt>
                <c:pt idx="34">
                  <c:v>44391</c:v>
                </c:pt>
                <c:pt idx="35">
                  <c:v>44392</c:v>
                </c:pt>
                <c:pt idx="36">
                  <c:v>44393</c:v>
                </c:pt>
                <c:pt idx="37">
                  <c:v>44394</c:v>
                </c:pt>
                <c:pt idx="38">
                  <c:v>44395</c:v>
                </c:pt>
                <c:pt idx="39">
                  <c:v>44396</c:v>
                </c:pt>
                <c:pt idx="40">
                  <c:v>44397</c:v>
                </c:pt>
                <c:pt idx="41">
                  <c:v>44398</c:v>
                </c:pt>
                <c:pt idx="42">
                  <c:v>44399</c:v>
                </c:pt>
                <c:pt idx="43">
                  <c:v>44400</c:v>
                </c:pt>
                <c:pt idx="44">
                  <c:v>44401</c:v>
                </c:pt>
                <c:pt idx="45">
                  <c:v>44402</c:v>
                </c:pt>
                <c:pt idx="46">
                  <c:v>44403</c:v>
                </c:pt>
                <c:pt idx="47">
                  <c:v>44404</c:v>
                </c:pt>
                <c:pt idx="48">
                  <c:v>44405</c:v>
                </c:pt>
                <c:pt idx="49">
                  <c:v>44406</c:v>
                </c:pt>
                <c:pt idx="50">
                  <c:v>44407</c:v>
                </c:pt>
                <c:pt idx="51">
                  <c:v>44408</c:v>
                </c:pt>
                <c:pt idx="52">
                  <c:v>44409</c:v>
                </c:pt>
                <c:pt idx="53">
                  <c:v>44410</c:v>
                </c:pt>
                <c:pt idx="54">
                  <c:v>44411</c:v>
                </c:pt>
                <c:pt idx="55">
                  <c:v>44412</c:v>
                </c:pt>
                <c:pt idx="56">
                  <c:v>44413</c:v>
                </c:pt>
                <c:pt idx="57">
                  <c:v>44414</c:v>
                </c:pt>
                <c:pt idx="58">
                  <c:v>44415</c:v>
                </c:pt>
                <c:pt idx="59">
                  <c:v>44416</c:v>
                </c:pt>
                <c:pt idx="60">
                  <c:v>44417</c:v>
                </c:pt>
                <c:pt idx="61">
                  <c:v>44418</c:v>
                </c:pt>
                <c:pt idx="62">
                  <c:v>44419</c:v>
                </c:pt>
                <c:pt idx="63">
                  <c:v>44420</c:v>
                </c:pt>
                <c:pt idx="64">
                  <c:v>44421</c:v>
                </c:pt>
                <c:pt idx="65">
                  <c:v>44422</c:v>
                </c:pt>
                <c:pt idx="66">
                  <c:v>44423</c:v>
                </c:pt>
                <c:pt idx="67">
                  <c:v>44424</c:v>
                </c:pt>
                <c:pt idx="68">
                  <c:v>44425</c:v>
                </c:pt>
                <c:pt idx="69">
                  <c:v>44426</c:v>
                </c:pt>
                <c:pt idx="70">
                  <c:v>44427</c:v>
                </c:pt>
                <c:pt idx="71">
                  <c:v>44428</c:v>
                </c:pt>
                <c:pt idx="72">
                  <c:v>44429</c:v>
                </c:pt>
                <c:pt idx="73">
                  <c:v>44430</c:v>
                </c:pt>
                <c:pt idx="74">
                  <c:v>44431</c:v>
                </c:pt>
                <c:pt idx="75">
                  <c:v>44432</c:v>
                </c:pt>
                <c:pt idx="76">
                  <c:v>44433</c:v>
                </c:pt>
                <c:pt idx="77">
                  <c:v>44434</c:v>
                </c:pt>
                <c:pt idx="78">
                  <c:v>44435</c:v>
                </c:pt>
                <c:pt idx="79">
                  <c:v>44436</c:v>
                </c:pt>
                <c:pt idx="80">
                  <c:v>44437</c:v>
                </c:pt>
                <c:pt idx="81">
                  <c:v>44438</c:v>
                </c:pt>
                <c:pt idx="82">
                  <c:v>44439</c:v>
                </c:pt>
                <c:pt idx="83">
                  <c:v>44440</c:v>
                </c:pt>
                <c:pt idx="84">
                  <c:v>44441</c:v>
                </c:pt>
                <c:pt idx="85">
                  <c:v>44442</c:v>
                </c:pt>
                <c:pt idx="86">
                  <c:v>44443</c:v>
                </c:pt>
                <c:pt idx="87">
                  <c:v>44444</c:v>
                </c:pt>
                <c:pt idx="88">
                  <c:v>44445</c:v>
                </c:pt>
                <c:pt idx="89">
                  <c:v>44446</c:v>
                </c:pt>
                <c:pt idx="90">
                  <c:v>44447</c:v>
                </c:pt>
                <c:pt idx="91">
                  <c:v>44448</c:v>
                </c:pt>
                <c:pt idx="92">
                  <c:v>44449</c:v>
                </c:pt>
                <c:pt idx="93">
                  <c:v>44450</c:v>
                </c:pt>
                <c:pt idx="94">
                  <c:v>44451</c:v>
                </c:pt>
                <c:pt idx="95">
                  <c:v>44452</c:v>
                </c:pt>
                <c:pt idx="96">
                  <c:v>44453</c:v>
                </c:pt>
                <c:pt idx="97">
                  <c:v>44454</c:v>
                </c:pt>
                <c:pt idx="98">
                  <c:v>44455</c:v>
                </c:pt>
                <c:pt idx="99">
                  <c:v>44456</c:v>
                </c:pt>
                <c:pt idx="100">
                  <c:v>44457</c:v>
                </c:pt>
                <c:pt idx="101">
                  <c:v>44458</c:v>
                </c:pt>
                <c:pt idx="102">
                  <c:v>44459</c:v>
                </c:pt>
                <c:pt idx="103">
                  <c:v>44460</c:v>
                </c:pt>
                <c:pt idx="104">
                  <c:v>44461</c:v>
                </c:pt>
                <c:pt idx="105">
                  <c:v>44462</c:v>
                </c:pt>
                <c:pt idx="106">
                  <c:v>44463</c:v>
                </c:pt>
                <c:pt idx="107">
                  <c:v>44464</c:v>
                </c:pt>
                <c:pt idx="108">
                  <c:v>44465</c:v>
                </c:pt>
                <c:pt idx="109">
                  <c:v>44466</c:v>
                </c:pt>
                <c:pt idx="110">
                  <c:v>44467</c:v>
                </c:pt>
                <c:pt idx="111">
                  <c:v>44468</c:v>
                </c:pt>
                <c:pt idx="112">
                  <c:v>44469</c:v>
                </c:pt>
                <c:pt idx="113">
                  <c:v>44470</c:v>
                </c:pt>
                <c:pt idx="114">
                  <c:v>44471</c:v>
                </c:pt>
                <c:pt idx="115">
                  <c:v>44472</c:v>
                </c:pt>
                <c:pt idx="116">
                  <c:v>44473</c:v>
                </c:pt>
                <c:pt idx="117">
                  <c:v>44474</c:v>
                </c:pt>
                <c:pt idx="118">
                  <c:v>44475</c:v>
                </c:pt>
                <c:pt idx="119">
                  <c:v>44476</c:v>
                </c:pt>
                <c:pt idx="120">
                  <c:v>44477</c:v>
                </c:pt>
                <c:pt idx="121">
                  <c:v>44478</c:v>
                </c:pt>
                <c:pt idx="122">
                  <c:v>44479</c:v>
                </c:pt>
                <c:pt idx="123">
                  <c:v>44480</c:v>
                </c:pt>
                <c:pt idx="124">
                  <c:v>44481</c:v>
                </c:pt>
                <c:pt idx="125">
                  <c:v>44482</c:v>
                </c:pt>
                <c:pt idx="126">
                  <c:v>44483</c:v>
                </c:pt>
                <c:pt idx="127">
                  <c:v>44484</c:v>
                </c:pt>
                <c:pt idx="128">
                  <c:v>44485</c:v>
                </c:pt>
                <c:pt idx="129">
                  <c:v>44486</c:v>
                </c:pt>
                <c:pt idx="130">
                  <c:v>44487</c:v>
                </c:pt>
                <c:pt idx="131">
                  <c:v>44488</c:v>
                </c:pt>
                <c:pt idx="132">
                  <c:v>44489</c:v>
                </c:pt>
                <c:pt idx="133">
                  <c:v>44490</c:v>
                </c:pt>
                <c:pt idx="134">
                  <c:v>44491</c:v>
                </c:pt>
                <c:pt idx="135">
                  <c:v>44492</c:v>
                </c:pt>
                <c:pt idx="136">
                  <c:v>44493</c:v>
                </c:pt>
                <c:pt idx="137">
                  <c:v>44494</c:v>
                </c:pt>
                <c:pt idx="138">
                  <c:v>44495</c:v>
                </c:pt>
                <c:pt idx="139">
                  <c:v>44496</c:v>
                </c:pt>
                <c:pt idx="140">
                  <c:v>44497</c:v>
                </c:pt>
                <c:pt idx="141">
                  <c:v>44498</c:v>
                </c:pt>
                <c:pt idx="142">
                  <c:v>44499</c:v>
                </c:pt>
                <c:pt idx="143">
                  <c:v>44500</c:v>
                </c:pt>
                <c:pt idx="144">
                  <c:v>44501</c:v>
                </c:pt>
                <c:pt idx="145">
                  <c:v>44502</c:v>
                </c:pt>
                <c:pt idx="146">
                  <c:v>44503</c:v>
                </c:pt>
                <c:pt idx="147">
                  <c:v>44504</c:v>
                </c:pt>
                <c:pt idx="148">
                  <c:v>44505</c:v>
                </c:pt>
                <c:pt idx="149">
                  <c:v>44506</c:v>
                </c:pt>
                <c:pt idx="150">
                  <c:v>44507</c:v>
                </c:pt>
                <c:pt idx="151">
                  <c:v>44508</c:v>
                </c:pt>
                <c:pt idx="152">
                  <c:v>44509</c:v>
                </c:pt>
                <c:pt idx="153">
                  <c:v>44510</c:v>
                </c:pt>
                <c:pt idx="154">
                  <c:v>44511</c:v>
                </c:pt>
                <c:pt idx="155">
                  <c:v>44512</c:v>
                </c:pt>
                <c:pt idx="156">
                  <c:v>44513</c:v>
                </c:pt>
                <c:pt idx="157">
                  <c:v>44514</c:v>
                </c:pt>
                <c:pt idx="158">
                  <c:v>44515</c:v>
                </c:pt>
                <c:pt idx="159">
                  <c:v>44516</c:v>
                </c:pt>
                <c:pt idx="160">
                  <c:v>44517</c:v>
                </c:pt>
                <c:pt idx="161">
                  <c:v>44518</c:v>
                </c:pt>
                <c:pt idx="162">
                  <c:v>44519</c:v>
                </c:pt>
                <c:pt idx="163">
                  <c:v>44520</c:v>
                </c:pt>
                <c:pt idx="164">
                  <c:v>44521</c:v>
                </c:pt>
                <c:pt idx="165">
                  <c:v>44522</c:v>
                </c:pt>
                <c:pt idx="166">
                  <c:v>44523</c:v>
                </c:pt>
                <c:pt idx="167">
                  <c:v>44524</c:v>
                </c:pt>
                <c:pt idx="168">
                  <c:v>44525</c:v>
                </c:pt>
                <c:pt idx="169">
                  <c:v>44526</c:v>
                </c:pt>
                <c:pt idx="170">
                  <c:v>44527</c:v>
                </c:pt>
                <c:pt idx="171">
                  <c:v>44528</c:v>
                </c:pt>
                <c:pt idx="172">
                  <c:v>44529</c:v>
                </c:pt>
                <c:pt idx="173">
                  <c:v>44530</c:v>
                </c:pt>
                <c:pt idx="174">
                  <c:v>44531</c:v>
                </c:pt>
                <c:pt idx="175">
                  <c:v>44532</c:v>
                </c:pt>
                <c:pt idx="176">
                  <c:v>44533</c:v>
                </c:pt>
                <c:pt idx="177">
                  <c:v>44534</c:v>
                </c:pt>
                <c:pt idx="178">
                  <c:v>44535</c:v>
                </c:pt>
                <c:pt idx="179">
                  <c:v>44536</c:v>
                </c:pt>
                <c:pt idx="180">
                  <c:v>44537</c:v>
                </c:pt>
                <c:pt idx="181">
                  <c:v>44538</c:v>
                </c:pt>
                <c:pt idx="182">
                  <c:v>44539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131</c:v>
                </c:pt>
                <c:pt idx="1">
                  <c:v>131</c:v>
                </c:pt>
                <c:pt idx="2">
                  <c:v>131</c:v>
                </c:pt>
                <c:pt idx="3">
                  <c:v>131</c:v>
                </c:pt>
                <c:pt idx="4">
                  <c:v>131</c:v>
                </c:pt>
                <c:pt idx="5">
                  <c:v>131</c:v>
                </c:pt>
                <c:pt idx="6">
                  <c:v>131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28</c:v>
                </c:pt>
                <c:pt idx="15">
                  <c:v>127</c:v>
                </c:pt>
                <c:pt idx="16">
                  <c:v>127</c:v>
                </c:pt>
                <c:pt idx="17">
                  <c:v>127</c:v>
                </c:pt>
                <c:pt idx="18">
                  <c:v>127</c:v>
                </c:pt>
                <c:pt idx="19">
                  <c:v>127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9</c:v>
                </c:pt>
                <c:pt idx="32">
                  <c:v>129</c:v>
                </c:pt>
                <c:pt idx="33">
                  <c:v>129</c:v>
                </c:pt>
                <c:pt idx="34">
                  <c:v>129</c:v>
                </c:pt>
                <c:pt idx="35">
                  <c:v>129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9</c:v>
                </c:pt>
                <c:pt idx="42">
                  <c:v>128</c:v>
                </c:pt>
                <c:pt idx="43">
                  <c:v>128</c:v>
                </c:pt>
                <c:pt idx="44">
                  <c:v>127</c:v>
                </c:pt>
                <c:pt idx="45">
                  <c:v>127</c:v>
                </c:pt>
                <c:pt idx="46">
                  <c:v>126</c:v>
                </c:pt>
                <c:pt idx="47">
                  <c:v>127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7</c:v>
                </c:pt>
                <c:pt idx="57">
                  <c:v>127</c:v>
                </c:pt>
                <c:pt idx="58">
                  <c:v>127</c:v>
                </c:pt>
                <c:pt idx="59">
                  <c:v>128</c:v>
                </c:pt>
                <c:pt idx="60">
                  <c:v>128</c:v>
                </c:pt>
                <c:pt idx="61">
                  <c:v>127</c:v>
                </c:pt>
                <c:pt idx="62">
                  <c:v>127</c:v>
                </c:pt>
                <c:pt idx="63">
                  <c:v>127</c:v>
                </c:pt>
                <c:pt idx="64">
                  <c:v>127</c:v>
                </c:pt>
                <c:pt idx="65">
                  <c:v>127</c:v>
                </c:pt>
                <c:pt idx="66">
                  <c:v>127</c:v>
                </c:pt>
                <c:pt idx="67">
                  <c:v>127</c:v>
                </c:pt>
                <c:pt idx="68">
                  <c:v>126</c:v>
                </c:pt>
                <c:pt idx="69">
                  <c:v>126</c:v>
                </c:pt>
                <c:pt idx="70">
                  <c:v>126</c:v>
                </c:pt>
                <c:pt idx="71">
                  <c:v>126</c:v>
                </c:pt>
                <c:pt idx="72">
                  <c:v>126</c:v>
                </c:pt>
                <c:pt idx="73">
                  <c:v>126</c:v>
                </c:pt>
                <c:pt idx="74">
                  <c:v>127</c:v>
                </c:pt>
                <c:pt idx="75">
                  <c:v>127</c:v>
                </c:pt>
                <c:pt idx="76">
                  <c:v>127</c:v>
                </c:pt>
                <c:pt idx="77">
                  <c:v>127</c:v>
                </c:pt>
                <c:pt idx="78">
                  <c:v>128</c:v>
                </c:pt>
                <c:pt idx="79">
                  <c:v>128</c:v>
                </c:pt>
                <c:pt idx="80">
                  <c:v>128</c:v>
                </c:pt>
                <c:pt idx="81">
                  <c:v>128</c:v>
                </c:pt>
                <c:pt idx="82">
                  <c:v>128</c:v>
                </c:pt>
                <c:pt idx="83">
                  <c:v>130</c:v>
                </c:pt>
                <c:pt idx="84">
                  <c:v>131</c:v>
                </c:pt>
                <c:pt idx="85">
                  <c:v>132</c:v>
                </c:pt>
                <c:pt idx="86">
                  <c:v>132</c:v>
                </c:pt>
                <c:pt idx="87">
                  <c:v>132</c:v>
                </c:pt>
                <c:pt idx="88">
                  <c:v>133</c:v>
                </c:pt>
                <c:pt idx="89">
                  <c:v>134</c:v>
                </c:pt>
                <c:pt idx="90">
                  <c:v>135</c:v>
                </c:pt>
                <c:pt idx="91">
                  <c:v>136</c:v>
                </c:pt>
                <c:pt idx="92">
                  <c:v>136</c:v>
                </c:pt>
                <c:pt idx="93">
                  <c:v>135</c:v>
                </c:pt>
                <c:pt idx="94">
                  <c:v>134</c:v>
                </c:pt>
                <c:pt idx="95">
                  <c:v>134</c:v>
                </c:pt>
                <c:pt idx="96">
                  <c:v>135</c:v>
                </c:pt>
                <c:pt idx="97">
                  <c:v>134</c:v>
                </c:pt>
                <c:pt idx="98">
                  <c:v>134</c:v>
                </c:pt>
                <c:pt idx="99">
                  <c:v>133</c:v>
                </c:pt>
                <c:pt idx="100">
                  <c:v>131</c:v>
                </c:pt>
                <c:pt idx="101">
                  <c:v>131</c:v>
                </c:pt>
                <c:pt idx="102">
                  <c:v>135</c:v>
                </c:pt>
                <c:pt idx="103">
                  <c:v>137</c:v>
                </c:pt>
                <c:pt idx="104">
                  <c:v>137</c:v>
                </c:pt>
                <c:pt idx="105">
                  <c:v>137</c:v>
                </c:pt>
                <c:pt idx="106">
                  <c:v>137</c:v>
                </c:pt>
                <c:pt idx="107">
                  <c:v>138</c:v>
                </c:pt>
                <c:pt idx="108">
                  <c:v>139</c:v>
                </c:pt>
                <c:pt idx="109">
                  <c:v>143</c:v>
                </c:pt>
                <c:pt idx="110">
                  <c:v>145</c:v>
                </c:pt>
                <c:pt idx="111">
                  <c:v>150</c:v>
                </c:pt>
                <c:pt idx="112">
                  <c:v>151</c:v>
                </c:pt>
                <c:pt idx="113">
                  <c:v>152</c:v>
                </c:pt>
                <c:pt idx="114">
                  <c:v>151</c:v>
                </c:pt>
                <c:pt idx="115">
                  <c:v>150</c:v>
                </c:pt>
                <c:pt idx="116">
                  <c:v>152</c:v>
                </c:pt>
                <c:pt idx="117">
                  <c:v>154</c:v>
                </c:pt>
                <c:pt idx="118">
                  <c:v>154</c:v>
                </c:pt>
                <c:pt idx="119">
                  <c:v>155</c:v>
                </c:pt>
                <c:pt idx="120">
                  <c:v>156</c:v>
                </c:pt>
                <c:pt idx="121">
                  <c:v>157</c:v>
                </c:pt>
                <c:pt idx="122">
                  <c:v>155</c:v>
                </c:pt>
                <c:pt idx="123">
                  <c:v>157</c:v>
                </c:pt>
                <c:pt idx="124">
                  <c:v>153</c:v>
                </c:pt>
                <c:pt idx="125">
                  <c:v>153</c:v>
                </c:pt>
                <c:pt idx="126">
                  <c:v>149</c:v>
                </c:pt>
                <c:pt idx="127">
                  <c:v>154</c:v>
                </c:pt>
                <c:pt idx="128">
                  <c:v>154</c:v>
                </c:pt>
                <c:pt idx="129">
                  <c:v>155</c:v>
                </c:pt>
                <c:pt idx="130">
                  <c:v>167</c:v>
                </c:pt>
                <c:pt idx="131">
                  <c:v>170</c:v>
                </c:pt>
                <c:pt idx="132">
                  <c:v>178</c:v>
                </c:pt>
                <c:pt idx="133">
                  <c:v>181</c:v>
                </c:pt>
                <c:pt idx="134">
                  <c:v>187</c:v>
                </c:pt>
                <c:pt idx="135">
                  <c:v>183</c:v>
                </c:pt>
                <c:pt idx="136">
                  <c:v>186</c:v>
                </c:pt>
                <c:pt idx="137">
                  <c:v>203</c:v>
                </c:pt>
                <c:pt idx="138">
                  <c:v>205</c:v>
                </c:pt>
                <c:pt idx="139">
                  <c:v>218</c:v>
                </c:pt>
                <c:pt idx="140">
                  <c:v>219</c:v>
                </c:pt>
                <c:pt idx="141">
                  <c:v>224</c:v>
                </c:pt>
                <c:pt idx="142">
                  <c:v>224</c:v>
                </c:pt>
                <c:pt idx="143">
                  <c:v>225</c:v>
                </c:pt>
                <c:pt idx="144">
                  <c:v>265</c:v>
                </c:pt>
                <c:pt idx="145">
                  <c:v>275</c:v>
                </c:pt>
                <c:pt idx="146">
                  <c:v>287</c:v>
                </c:pt>
                <c:pt idx="147">
                  <c:v>300</c:v>
                </c:pt>
                <c:pt idx="148">
                  <c:v>318</c:v>
                </c:pt>
                <c:pt idx="149">
                  <c:v>325</c:v>
                </c:pt>
                <c:pt idx="150">
                  <c:v>327</c:v>
                </c:pt>
                <c:pt idx="151">
                  <c:v>373</c:v>
                </c:pt>
                <c:pt idx="152">
                  <c:v>386</c:v>
                </c:pt>
                <c:pt idx="153">
                  <c:v>395</c:v>
                </c:pt>
                <c:pt idx="154">
                  <c:v>419</c:v>
                </c:pt>
                <c:pt idx="155">
                  <c:v>448</c:v>
                </c:pt>
                <c:pt idx="156">
                  <c:v>455</c:v>
                </c:pt>
                <c:pt idx="157">
                  <c:v>461</c:v>
                </c:pt>
                <c:pt idx="158">
                  <c:v>507</c:v>
                </c:pt>
                <c:pt idx="159">
                  <c:v>502</c:v>
                </c:pt>
                <c:pt idx="160">
                  <c:v>484</c:v>
                </c:pt>
                <c:pt idx="161">
                  <c:v>497</c:v>
                </c:pt>
                <c:pt idx="162">
                  <c:v>518</c:v>
                </c:pt>
                <c:pt idx="163">
                  <c:v>504</c:v>
                </c:pt>
                <c:pt idx="164">
                  <c:v>498</c:v>
                </c:pt>
                <c:pt idx="165">
                  <c:v>545</c:v>
                </c:pt>
                <c:pt idx="166">
                  <c:v>552</c:v>
                </c:pt>
                <c:pt idx="167">
                  <c:v>566</c:v>
                </c:pt>
                <c:pt idx="168">
                  <c:v>565</c:v>
                </c:pt>
                <c:pt idx="169">
                  <c:v>573</c:v>
                </c:pt>
                <c:pt idx="170">
                  <c:v>561</c:v>
                </c:pt>
                <c:pt idx="171">
                  <c:v>555</c:v>
                </c:pt>
                <c:pt idx="172">
                  <c:v>581</c:v>
                </c:pt>
                <c:pt idx="173">
                  <c:v>571</c:v>
                </c:pt>
                <c:pt idx="174">
                  <c:v>558</c:v>
                </c:pt>
                <c:pt idx="175">
                  <c:v>583</c:v>
                </c:pt>
                <c:pt idx="176">
                  <c:v>546</c:v>
                </c:pt>
                <c:pt idx="177">
                  <c:v>515</c:v>
                </c:pt>
                <c:pt idx="178">
                  <c:v>504</c:v>
                </c:pt>
                <c:pt idx="179">
                  <c:v>529</c:v>
                </c:pt>
                <c:pt idx="180">
                  <c:v>546</c:v>
                </c:pt>
                <c:pt idx="181">
                  <c:v>553</c:v>
                </c:pt>
                <c:pt idx="182">
                  <c:v>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58.273440000000001</c:v>
                </c:pt>
                <c:pt idx="1">
                  <c:v>40.794620000000002</c:v>
                </c:pt>
                <c:pt idx="2">
                  <c:v>34.918660000000003</c:v>
                </c:pt>
                <c:pt idx="3">
                  <c:v>35.391840000000002</c:v>
                </c:pt>
                <c:pt idx="4">
                  <c:v>30.463460000000001</c:v>
                </c:pt>
                <c:pt idx="5">
                  <c:v>34.93188</c:v>
                </c:pt>
                <c:pt idx="6">
                  <c:v>47.488379999999999</c:v>
                </c:pt>
                <c:pt idx="7">
                  <c:v>29.41685</c:v>
                </c:pt>
                <c:pt idx="8">
                  <c:v>36.644979999999997</c:v>
                </c:pt>
                <c:pt idx="9">
                  <c:v>35.067149999999998</c:v>
                </c:pt>
                <c:pt idx="10">
                  <c:v>42.2905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28.566500000000001</c:v>
                </c:pt>
                <c:pt idx="1">
                  <c:v>40.114469999999997</c:v>
                </c:pt>
                <c:pt idx="2">
                  <c:v>43.400620000000004</c:v>
                </c:pt>
                <c:pt idx="3">
                  <c:v>41.546329999999998</c:v>
                </c:pt>
                <c:pt idx="4">
                  <c:v>46.506239999999998</c:v>
                </c:pt>
                <c:pt idx="5">
                  <c:v>44.586190000000002</c:v>
                </c:pt>
                <c:pt idx="6">
                  <c:v>36.910820000000001</c:v>
                </c:pt>
                <c:pt idx="7">
                  <c:v>44.060479999999998</c:v>
                </c:pt>
                <c:pt idx="8">
                  <c:v>43.293390000000002</c:v>
                </c:pt>
                <c:pt idx="9">
                  <c:v>43.507660000000001</c:v>
                </c:pt>
                <c:pt idx="10">
                  <c:v>38.9061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97943380000000002</c:v>
                </c:pt>
                <c:pt idx="1">
                  <c:v>1.918344</c:v>
                </c:pt>
                <c:pt idx="2">
                  <c:v>1.8575379000000001</c:v>
                </c:pt>
                <c:pt idx="3">
                  <c:v>1.9977568999999999</c:v>
                </c:pt>
                <c:pt idx="4">
                  <c:v>1.8538323999999999</c:v>
                </c:pt>
                <c:pt idx="5">
                  <c:v>1.8111661999999999</c:v>
                </c:pt>
                <c:pt idx="6">
                  <c:v>1.4162425000000001</c:v>
                </c:pt>
                <c:pt idx="7">
                  <c:v>1.9654427999999999</c:v>
                </c:pt>
                <c:pt idx="8">
                  <c:v>1.8623759</c:v>
                </c:pt>
                <c:pt idx="9">
                  <c:v>1.8630602999999999</c:v>
                </c:pt>
                <c:pt idx="10">
                  <c:v>1.699049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4227089999999998</c:v>
                </c:pt>
                <c:pt idx="1">
                  <c:v>7.3757510000000002</c:v>
                </c:pt>
                <c:pt idx="2">
                  <c:v>7.4377740000000001</c:v>
                </c:pt>
                <c:pt idx="3">
                  <c:v>6.8905089999999998</c:v>
                </c:pt>
                <c:pt idx="4">
                  <c:v>9.8930480000000003</c:v>
                </c:pt>
                <c:pt idx="5">
                  <c:v>7.7210799999999997</c:v>
                </c:pt>
                <c:pt idx="6">
                  <c:v>5.1560079999999999</c:v>
                </c:pt>
                <c:pt idx="7">
                  <c:v>8.8552920000000004</c:v>
                </c:pt>
                <c:pt idx="8">
                  <c:v>7.1003080000000001</c:v>
                </c:pt>
                <c:pt idx="9">
                  <c:v>6.7571399999999997</c:v>
                </c:pt>
                <c:pt idx="10">
                  <c:v>6.360184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7579209999999996</c:v>
                </c:pt>
                <c:pt idx="1">
                  <c:v>9.7968139999999995</c:v>
                </c:pt>
                <c:pt idx="2">
                  <c:v>12.385400000000001</c:v>
                </c:pt>
                <c:pt idx="3">
                  <c:v>14.17356</c:v>
                </c:pt>
                <c:pt idx="4">
                  <c:v>11.28342</c:v>
                </c:pt>
                <c:pt idx="5">
                  <c:v>10.949680000000001</c:v>
                </c:pt>
                <c:pt idx="6">
                  <c:v>9.0285460000000004</c:v>
                </c:pt>
                <c:pt idx="7">
                  <c:v>15.70194</c:v>
                </c:pt>
                <c:pt idx="8">
                  <c:v>11.098940000000001</c:v>
                </c:pt>
                <c:pt idx="9">
                  <c:v>12.80499</c:v>
                </c:pt>
                <c:pt idx="10">
                  <c:v>10.74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57</c:v>
                </c:pt>
                <c:pt idx="1">
                  <c:v>44358</c:v>
                </c:pt>
                <c:pt idx="2">
                  <c:v>44359</c:v>
                </c:pt>
                <c:pt idx="3">
                  <c:v>44360</c:v>
                </c:pt>
                <c:pt idx="4">
                  <c:v>44361</c:v>
                </c:pt>
                <c:pt idx="5">
                  <c:v>44362</c:v>
                </c:pt>
                <c:pt idx="6">
                  <c:v>44363</c:v>
                </c:pt>
                <c:pt idx="7">
                  <c:v>44364</c:v>
                </c:pt>
                <c:pt idx="8">
                  <c:v>44365</c:v>
                </c:pt>
                <c:pt idx="9">
                  <c:v>44366</c:v>
                </c:pt>
                <c:pt idx="10">
                  <c:v>44367</c:v>
                </c:pt>
                <c:pt idx="11">
                  <c:v>44368</c:v>
                </c:pt>
                <c:pt idx="12">
                  <c:v>44369</c:v>
                </c:pt>
                <c:pt idx="13">
                  <c:v>44370</c:v>
                </c:pt>
                <c:pt idx="14">
                  <c:v>44371</c:v>
                </c:pt>
                <c:pt idx="15">
                  <c:v>44372</c:v>
                </c:pt>
                <c:pt idx="16">
                  <c:v>44373</c:v>
                </c:pt>
                <c:pt idx="17">
                  <c:v>44374</c:v>
                </c:pt>
                <c:pt idx="18">
                  <c:v>44375</c:v>
                </c:pt>
                <c:pt idx="19">
                  <c:v>44376</c:v>
                </c:pt>
                <c:pt idx="20">
                  <c:v>44377</c:v>
                </c:pt>
                <c:pt idx="21">
                  <c:v>44378</c:v>
                </c:pt>
                <c:pt idx="22">
                  <c:v>44379</c:v>
                </c:pt>
                <c:pt idx="23">
                  <c:v>44380</c:v>
                </c:pt>
                <c:pt idx="24">
                  <c:v>44381</c:v>
                </c:pt>
                <c:pt idx="25">
                  <c:v>44382</c:v>
                </c:pt>
                <c:pt idx="26">
                  <c:v>44383</c:v>
                </c:pt>
                <c:pt idx="27">
                  <c:v>44384</c:v>
                </c:pt>
                <c:pt idx="28">
                  <c:v>44385</c:v>
                </c:pt>
                <c:pt idx="29">
                  <c:v>44386</c:v>
                </c:pt>
                <c:pt idx="30">
                  <c:v>44387</c:v>
                </c:pt>
                <c:pt idx="31">
                  <c:v>44388</c:v>
                </c:pt>
                <c:pt idx="32">
                  <c:v>44389</c:v>
                </c:pt>
                <c:pt idx="33">
                  <c:v>44390</c:v>
                </c:pt>
                <c:pt idx="34">
                  <c:v>44391</c:v>
                </c:pt>
                <c:pt idx="35">
                  <c:v>44392</c:v>
                </c:pt>
                <c:pt idx="36">
                  <c:v>44393</c:v>
                </c:pt>
                <c:pt idx="37">
                  <c:v>44394</c:v>
                </c:pt>
                <c:pt idx="38">
                  <c:v>44395</c:v>
                </c:pt>
                <c:pt idx="39">
                  <c:v>44396</c:v>
                </c:pt>
                <c:pt idx="40">
                  <c:v>44397</c:v>
                </c:pt>
                <c:pt idx="41">
                  <c:v>44398</c:v>
                </c:pt>
                <c:pt idx="42">
                  <c:v>44399</c:v>
                </c:pt>
                <c:pt idx="43">
                  <c:v>44400</c:v>
                </c:pt>
                <c:pt idx="44">
                  <c:v>44401</c:v>
                </c:pt>
                <c:pt idx="45">
                  <c:v>44402</c:v>
                </c:pt>
                <c:pt idx="46">
                  <c:v>44403</c:v>
                </c:pt>
                <c:pt idx="47">
                  <c:v>44404</c:v>
                </c:pt>
                <c:pt idx="48">
                  <c:v>44405</c:v>
                </c:pt>
                <c:pt idx="49">
                  <c:v>44406</c:v>
                </c:pt>
                <c:pt idx="50">
                  <c:v>44407</c:v>
                </c:pt>
                <c:pt idx="51">
                  <c:v>44408</c:v>
                </c:pt>
                <c:pt idx="52">
                  <c:v>44409</c:v>
                </c:pt>
                <c:pt idx="53">
                  <c:v>44410</c:v>
                </c:pt>
                <c:pt idx="54">
                  <c:v>44411</c:v>
                </c:pt>
                <c:pt idx="55">
                  <c:v>44412</c:v>
                </c:pt>
                <c:pt idx="56">
                  <c:v>44413</c:v>
                </c:pt>
                <c:pt idx="57">
                  <c:v>44414</c:v>
                </c:pt>
                <c:pt idx="58">
                  <c:v>44415</c:v>
                </c:pt>
                <c:pt idx="59">
                  <c:v>44416</c:v>
                </c:pt>
                <c:pt idx="60">
                  <c:v>44417</c:v>
                </c:pt>
                <c:pt idx="61">
                  <c:v>44418</c:v>
                </c:pt>
                <c:pt idx="62">
                  <c:v>44419</c:v>
                </c:pt>
                <c:pt idx="63">
                  <c:v>44420</c:v>
                </c:pt>
                <c:pt idx="64">
                  <c:v>44421</c:v>
                </c:pt>
                <c:pt idx="65">
                  <c:v>44422</c:v>
                </c:pt>
                <c:pt idx="66">
                  <c:v>44423</c:v>
                </c:pt>
                <c:pt idx="67">
                  <c:v>44424</c:v>
                </c:pt>
                <c:pt idx="68">
                  <c:v>44425</c:v>
                </c:pt>
                <c:pt idx="69">
                  <c:v>44426</c:v>
                </c:pt>
                <c:pt idx="70">
                  <c:v>44427</c:v>
                </c:pt>
                <c:pt idx="71">
                  <c:v>44428</c:v>
                </c:pt>
                <c:pt idx="72">
                  <c:v>44429</c:v>
                </c:pt>
                <c:pt idx="73">
                  <c:v>44430</c:v>
                </c:pt>
                <c:pt idx="74">
                  <c:v>44431</c:v>
                </c:pt>
                <c:pt idx="75">
                  <c:v>44432</c:v>
                </c:pt>
                <c:pt idx="76">
                  <c:v>44433</c:v>
                </c:pt>
                <c:pt idx="77">
                  <c:v>44434</c:v>
                </c:pt>
                <c:pt idx="78">
                  <c:v>44435</c:v>
                </c:pt>
                <c:pt idx="79">
                  <c:v>44436</c:v>
                </c:pt>
                <c:pt idx="80">
                  <c:v>44437</c:v>
                </c:pt>
                <c:pt idx="81">
                  <c:v>44438</c:v>
                </c:pt>
                <c:pt idx="82">
                  <c:v>44439</c:v>
                </c:pt>
                <c:pt idx="83">
                  <c:v>44440</c:v>
                </c:pt>
                <c:pt idx="84">
                  <c:v>44441</c:v>
                </c:pt>
                <c:pt idx="85">
                  <c:v>44442</c:v>
                </c:pt>
                <c:pt idx="86">
                  <c:v>44443</c:v>
                </c:pt>
                <c:pt idx="87">
                  <c:v>44444</c:v>
                </c:pt>
                <c:pt idx="88">
                  <c:v>44445</c:v>
                </c:pt>
                <c:pt idx="89">
                  <c:v>44446</c:v>
                </c:pt>
                <c:pt idx="90">
                  <c:v>44447</c:v>
                </c:pt>
                <c:pt idx="91">
                  <c:v>44448</c:v>
                </c:pt>
                <c:pt idx="92">
                  <c:v>44449</c:v>
                </c:pt>
                <c:pt idx="93">
                  <c:v>44450</c:v>
                </c:pt>
                <c:pt idx="94">
                  <c:v>44451</c:v>
                </c:pt>
                <c:pt idx="95">
                  <c:v>44452</c:v>
                </c:pt>
                <c:pt idx="96">
                  <c:v>44453</c:v>
                </c:pt>
                <c:pt idx="97">
                  <c:v>44454</c:v>
                </c:pt>
                <c:pt idx="98">
                  <c:v>44455</c:v>
                </c:pt>
                <c:pt idx="99">
                  <c:v>44456</c:v>
                </c:pt>
                <c:pt idx="100">
                  <c:v>44457</c:v>
                </c:pt>
                <c:pt idx="101">
                  <c:v>44458</c:v>
                </c:pt>
                <c:pt idx="102">
                  <c:v>44459</c:v>
                </c:pt>
                <c:pt idx="103">
                  <c:v>44460</c:v>
                </c:pt>
                <c:pt idx="104">
                  <c:v>44461</c:v>
                </c:pt>
                <c:pt idx="105">
                  <c:v>44462</c:v>
                </c:pt>
                <c:pt idx="106">
                  <c:v>44463</c:v>
                </c:pt>
                <c:pt idx="107">
                  <c:v>44464</c:v>
                </c:pt>
                <c:pt idx="108">
                  <c:v>44465</c:v>
                </c:pt>
                <c:pt idx="109">
                  <c:v>44466</c:v>
                </c:pt>
                <c:pt idx="110">
                  <c:v>44467</c:v>
                </c:pt>
                <c:pt idx="111">
                  <c:v>44468</c:v>
                </c:pt>
                <c:pt idx="112">
                  <c:v>44469</c:v>
                </c:pt>
                <c:pt idx="113">
                  <c:v>44470</c:v>
                </c:pt>
                <c:pt idx="114">
                  <c:v>44471</c:v>
                </c:pt>
                <c:pt idx="115">
                  <c:v>44472</c:v>
                </c:pt>
                <c:pt idx="116">
                  <c:v>44473</c:v>
                </c:pt>
                <c:pt idx="117">
                  <c:v>44474</c:v>
                </c:pt>
                <c:pt idx="118">
                  <c:v>44475</c:v>
                </c:pt>
                <c:pt idx="119">
                  <c:v>44476</c:v>
                </c:pt>
                <c:pt idx="120">
                  <c:v>44477</c:v>
                </c:pt>
                <c:pt idx="121">
                  <c:v>44478</c:v>
                </c:pt>
                <c:pt idx="122">
                  <c:v>44479</c:v>
                </c:pt>
                <c:pt idx="123">
                  <c:v>44480</c:v>
                </c:pt>
                <c:pt idx="124">
                  <c:v>44481</c:v>
                </c:pt>
                <c:pt idx="125">
                  <c:v>44482</c:v>
                </c:pt>
                <c:pt idx="126">
                  <c:v>44483</c:v>
                </c:pt>
                <c:pt idx="127">
                  <c:v>44484</c:v>
                </c:pt>
                <c:pt idx="128">
                  <c:v>44485</c:v>
                </c:pt>
                <c:pt idx="129">
                  <c:v>44486</c:v>
                </c:pt>
                <c:pt idx="130">
                  <c:v>44487</c:v>
                </c:pt>
                <c:pt idx="131">
                  <c:v>44488</c:v>
                </c:pt>
                <c:pt idx="132">
                  <c:v>44489</c:v>
                </c:pt>
                <c:pt idx="133">
                  <c:v>44490</c:v>
                </c:pt>
                <c:pt idx="134">
                  <c:v>44491</c:v>
                </c:pt>
                <c:pt idx="135">
                  <c:v>44492</c:v>
                </c:pt>
                <c:pt idx="136">
                  <c:v>44493</c:v>
                </c:pt>
                <c:pt idx="137">
                  <c:v>44494</c:v>
                </c:pt>
                <c:pt idx="138">
                  <c:v>44495</c:v>
                </c:pt>
                <c:pt idx="139">
                  <c:v>44496</c:v>
                </c:pt>
                <c:pt idx="140">
                  <c:v>44497</c:v>
                </c:pt>
                <c:pt idx="141">
                  <c:v>44498</c:v>
                </c:pt>
                <c:pt idx="142">
                  <c:v>44499</c:v>
                </c:pt>
                <c:pt idx="143">
                  <c:v>44500</c:v>
                </c:pt>
                <c:pt idx="144">
                  <c:v>44501</c:v>
                </c:pt>
                <c:pt idx="145">
                  <c:v>44502</c:v>
                </c:pt>
                <c:pt idx="146">
                  <c:v>44503</c:v>
                </c:pt>
                <c:pt idx="147">
                  <c:v>44504</c:v>
                </c:pt>
                <c:pt idx="148">
                  <c:v>44505</c:v>
                </c:pt>
                <c:pt idx="149">
                  <c:v>44506</c:v>
                </c:pt>
                <c:pt idx="150">
                  <c:v>44507</c:v>
                </c:pt>
                <c:pt idx="151">
                  <c:v>44508</c:v>
                </c:pt>
                <c:pt idx="152">
                  <c:v>44509</c:v>
                </c:pt>
                <c:pt idx="153">
                  <c:v>44510</c:v>
                </c:pt>
                <c:pt idx="154">
                  <c:v>44511</c:v>
                </c:pt>
                <c:pt idx="155">
                  <c:v>44512</c:v>
                </c:pt>
                <c:pt idx="156">
                  <c:v>44513</c:v>
                </c:pt>
                <c:pt idx="157">
                  <c:v>44514</c:v>
                </c:pt>
                <c:pt idx="158">
                  <c:v>44515</c:v>
                </c:pt>
                <c:pt idx="159">
                  <c:v>44516</c:v>
                </c:pt>
                <c:pt idx="160">
                  <c:v>44517</c:v>
                </c:pt>
                <c:pt idx="161">
                  <c:v>44518</c:v>
                </c:pt>
                <c:pt idx="162">
                  <c:v>44519</c:v>
                </c:pt>
                <c:pt idx="163">
                  <c:v>44520</c:v>
                </c:pt>
                <c:pt idx="164">
                  <c:v>44521</c:v>
                </c:pt>
                <c:pt idx="165">
                  <c:v>44522</c:v>
                </c:pt>
                <c:pt idx="166">
                  <c:v>44523</c:v>
                </c:pt>
                <c:pt idx="167">
                  <c:v>44524</c:v>
                </c:pt>
                <c:pt idx="168">
                  <c:v>44525</c:v>
                </c:pt>
                <c:pt idx="169">
                  <c:v>44526</c:v>
                </c:pt>
                <c:pt idx="170">
                  <c:v>44527</c:v>
                </c:pt>
                <c:pt idx="171">
                  <c:v>44528</c:v>
                </c:pt>
                <c:pt idx="172">
                  <c:v>44529</c:v>
                </c:pt>
                <c:pt idx="173">
                  <c:v>44530</c:v>
                </c:pt>
                <c:pt idx="174">
                  <c:v>44531</c:v>
                </c:pt>
                <c:pt idx="175">
                  <c:v>44532</c:v>
                </c:pt>
                <c:pt idx="176">
                  <c:v>44533</c:v>
                </c:pt>
                <c:pt idx="177">
                  <c:v>44534</c:v>
                </c:pt>
                <c:pt idx="178">
                  <c:v>44535</c:v>
                </c:pt>
                <c:pt idx="179">
                  <c:v>44536</c:v>
                </c:pt>
                <c:pt idx="180">
                  <c:v>44537</c:v>
                </c:pt>
                <c:pt idx="181">
                  <c:v>44538</c:v>
                </c:pt>
                <c:pt idx="182">
                  <c:v>44539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2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1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1</c:v>
                </c:pt>
                <c:pt idx="89">
                  <c:v>2</c:v>
                </c:pt>
                <c:pt idx="90">
                  <c:v>1</c:v>
                </c:pt>
                <c:pt idx="91">
                  <c:v>1</c:v>
                </c:pt>
                <c:pt idx="92">
                  <c:v>0</c:v>
                </c:pt>
                <c:pt idx="93">
                  <c:v>0</c:v>
                </c:pt>
                <c:pt idx="94">
                  <c:v>1</c:v>
                </c:pt>
                <c:pt idx="95">
                  <c:v>0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0</c:v>
                </c:pt>
                <c:pt idx="102">
                  <c:v>4</c:v>
                </c:pt>
                <c:pt idx="103">
                  <c:v>3</c:v>
                </c:pt>
                <c:pt idx="104">
                  <c:v>2</c:v>
                </c:pt>
                <c:pt idx="105">
                  <c:v>0</c:v>
                </c:pt>
                <c:pt idx="106">
                  <c:v>0</c:v>
                </c:pt>
                <c:pt idx="107">
                  <c:v>1</c:v>
                </c:pt>
                <c:pt idx="108">
                  <c:v>1</c:v>
                </c:pt>
                <c:pt idx="109">
                  <c:v>5</c:v>
                </c:pt>
                <c:pt idx="110">
                  <c:v>2</c:v>
                </c:pt>
                <c:pt idx="111">
                  <c:v>7</c:v>
                </c:pt>
                <c:pt idx="112">
                  <c:v>3</c:v>
                </c:pt>
                <c:pt idx="113">
                  <c:v>2</c:v>
                </c:pt>
                <c:pt idx="114">
                  <c:v>0</c:v>
                </c:pt>
                <c:pt idx="115">
                  <c:v>0</c:v>
                </c:pt>
                <c:pt idx="116">
                  <c:v>3</c:v>
                </c:pt>
                <c:pt idx="117">
                  <c:v>5</c:v>
                </c:pt>
                <c:pt idx="118">
                  <c:v>2</c:v>
                </c:pt>
                <c:pt idx="119">
                  <c:v>1</c:v>
                </c:pt>
                <c:pt idx="120">
                  <c:v>2</c:v>
                </c:pt>
                <c:pt idx="121">
                  <c:v>1</c:v>
                </c:pt>
                <c:pt idx="122">
                  <c:v>0</c:v>
                </c:pt>
                <c:pt idx="123">
                  <c:v>2</c:v>
                </c:pt>
                <c:pt idx="124">
                  <c:v>3</c:v>
                </c:pt>
                <c:pt idx="125">
                  <c:v>1</c:v>
                </c:pt>
                <c:pt idx="126">
                  <c:v>3</c:v>
                </c:pt>
                <c:pt idx="127">
                  <c:v>6</c:v>
                </c:pt>
                <c:pt idx="128">
                  <c:v>2</c:v>
                </c:pt>
                <c:pt idx="129">
                  <c:v>1</c:v>
                </c:pt>
                <c:pt idx="130">
                  <c:v>12</c:v>
                </c:pt>
                <c:pt idx="131">
                  <c:v>7</c:v>
                </c:pt>
                <c:pt idx="132">
                  <c:v>9</c:v>
                </c:pt>
                <c:pt idx="133">
                  <c:v>7</c:v>
                </c:pt>
                <c:pt idx="134">
                  <c:v>10</c:v>
                </c:pt>
                <c:pt idx="135">
                  <c:v>0</c:v>
                </c:pt>
                <c:pt idx="136">
                  <c:v>3</c:v>
                </c:pt>
                <c:pt idx="137">
                  <c:v>18</c:v>
                </c:pt>
                <c:pt idx="138">
                  <c:v>5</c:v>
                </c:pt>
                <c:pt idx="139">
                  <c:v>16</c:v>
                </c:pt>
                <c:pt idx="140">
                  <c:v>3</c:v>
                </c:pt>
                <c:pt idx="141">
                  <c:v>8</c:v>
                </c:pt>
                <c:pt idx="142">
                  <c:v>5</c:v>
                </c:pt>
                <c:pt idx="143">
                  <c:v>4</c:v>
                </c:pt>
                <c:pt idx="144">
                  <c:v>40</c:v>
                </c:pt>
                <c:pt idx="145">
                  <c:v>25</c:v>
                </c:pt>
                <c:pt idx="146">
                  <c:v>19</c:v>
                </c:pt>
                <c:pt idx="147">
                  <c:v>24</c:v>
                </c:pt>
                <c:pt idx="148">
                  <c:v>27</c:v>
                </c:pt>
                <c:pt idx="149">
                  <c:v>13</c:v>
                </c:pt>
                <c:pt idx="150">
                  <c:v>5</c:v>
                </c:pt>
                <c:pt idx="151">
                  <c:v>50</c:v>
                </c:pt>
                <c:pt idx="152">
                  <c:v>25</c:v>
                </c:pt>
                <c:pt idx="153">
                  <c:v>28</c:v>
                </c:pt>
                <c:pt idx="154">
                  <c:v>34</c:v>
                </c:pt>
                <c:pt idx="155">
                  <c:v>34</c:v>
                </c:pt>
                <c:pt idx="156">
                  <c:v>19</c:v>
                </c:pt>
                <c:pt idx="157">
                  <c:v>14</c:v>
                </c:pt>
                <c:pt idx="158">
                  <c:v>54</c:v>
                </c:pt>
                <c:pt idx="159">
                  <c:v>32</c:v>
                </c:pt>
                <c:pt idx="160" formatCode="General">
                  <c:v>12</c:v>
                </c:pt>
                <c:pt idx="161" formatCode="General">
                  <c:v>38</c:v>
                </c:pt>
                <c:pt idx="162" formatCode="General">
                  <c:v>49</c:v>
                </c:pt>
                <c:pt idx="163" formatCode="General">
                  <c:v>11</c:v>
                </c:pt>
                <c:pt idx="164" formatCode="General">
                  <c:v>5</c:v>
                </c:pt>
                <c:pt idx="165" formatCode="General">
                  <c:v>56</c:v>
                </c:pt>
                <c:pt idx="166" formatCode="General">
                  <c:v>48</c:v>
                </c:pt>
                <c:pt idx="167" formatCode="General">
                  <c:v>52</c:v>
                </c:pt>
                <c:pt idx="168" formatCode="General">
                  <c:v>44</c:v>
                </c:pt>
                <c:pt idx="169" formatCode="General">
                  <c:v>49</c:v>
                </c:pt>
                <c:pt idx="170" formatCode="General">
                  <c:v>22</c:v>
                </c:pt>
                <c:pt idx="171" formatCode="General">
                  <c:v>12</c:v>
                </c:pt>
                <c:pt idx="172" formatCode="General">
                  <c:v>37</c:v>
                </c:pt>
                <c:pt idx="173" formatCode="General">
                  <c:v>56</c:v>
                </c:pt>
                <c:pt idx="174" formatCode="General">
                  <c:v>37</c:v>
                </c:pt>
                <c:pt idx="175" formatCode="General">
                  <c:v>42</c:v>
                </c:pt>
                <c:pt idx="176" formatCode="General">
                  <c:v>30</c:v>
                </c:pt>
                <c:pt idx="177" formatCode="General">
                  <c:v>28</c:v>
                </c:pt>
                <c:pt idx="178" formatCode="General">
                  <c:v>9</c:v>
                </c:pt>
                <c:pt idx="179" formatCode="General">
                  <c:v>43</c:v>
                </c:pt>
                <c:pt idx="180" formatCode="General">
                  <c:v>41</c:v>
                </c:pt>
                <c:pt idx="181" formatCode="General">
                  <c:v>23</c:v>
                </c:pt>
                <c:pt idx="182" formatCode="General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2:$AC$2</c:f>
              <c:numCache>
                <c:formatCode>General</c:formatCode>
                <c:ptCount val="15"/>
                <c:pt idx="0">
                  <c:v>0.32496540000000002</c:v>
                </c:pt>
                <c:pt idx="1">
                  <c:v>0.83562550000000002</c:v>
                </c:pt>
                <c:pt idx="2">
                  <c:v>1.3927091</c:v>
                </c:pt>
                <c:pt idx="3">
                  <c:v>2.9246892</c:v>
                </c:pt>
                <c:pt idx="4">
                  <c:v>12.255840600000001</c:v>
                </c:pt>
                <c:pt idx="5">
                  <c:v>57.518888599999997</c:v>
                </c:pt>
                <c:pt idx="6">
                  <c:v>120.330072</c:v>
                </c:pt>
                <c:pt idx="7">
                  <c:v>172.13885310000001</c:v>
                </c:pt>
                <c:pt idx="8">
                  <c:v>276.45276969999998</c:v>
                </c:pt>
                <c:pt idx="9">
                  <c:v>245.6738971</c:v>
                </c:pt>
                <c:pt idx="10">
                  <c:v>180.3558371</c:v>
                </c:pt>
                <c:pt idx="11">
                  <c:v>114.0628808</c:v>
                </c:pt>
                <c:pt idx="12">
                  <c:v>78.409526099999994</c:v>
                </c:pt>
                <c:pt idx="13">
                  <c:v>60.025765100000001</c:v>
                </c:pt>
                <c:pt idx="14">
                  <c:v>65.3180598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3:$AC$3</c:f>
              <c:numCache>
                <c:formatCode>General</c:formatCode>
                <c:ptCount val="15"/>
                <c:pt idx="0">
                  <c:v>0.69635449999999999</c:v>
                </c:pt>
                <c:pt idx="1">
                  <c:v>0.69635449999999999</c:v>
                </c:pt>
                <c:pt idx="2">
                  <c:v>0.27854180000000001</c:v>
                </c:pt>
                <c:pt idx="3">
                  <c:v>1.3927091</c:v>
                </c:pt>
                <c:pt idx="4">
                  <c:v>2.9246892</c:v>
                </c:pt>
                <c:pt idx="5">
                  <c:v>1.8105218999999999</c:v>
                </c:pt>
                <c:pt idx="6">
                  <c:v>2.2283346000000002</c:v>
                </c:pt>
                <c:pt idx="7">
                  <c:v>6.6850040000000002</c:v>
                </c:pt>
                <c:pt idx="8">
                  <c:v>7.3813585000000002</c:v>
                </c:pt>
                <c:pt idx="9">
                  <c:v>20.055012000000001</c:v>
                </c:pt>
                <c:pt idx="10">
                  <c:v>26.322203200000001</c:v>
                </c:pt>
                <c:pt idx="11">
                  <c:v>31.196685299999999</c:v>
                </c:pt>
                <c:pt idx="12">
                  <c:v>36.349709199999999</c:v>
                </c:pt>
                <c:pt idx="13">
                  <c:v>33.564290900000003</c:v>
                </c:pt>
                <c:pt idx="14">
                  <c:v>27.8541832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Hlavní město Praha</c:v>
                </c:pt>
                <c:pt idx="8">
                  <c:v>Pardubic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466520000000003</c:v>
                </c:pt>
                <c:pt idx="1">
                  <c:v>90.090999999999994</c:v>
                </c:pt>
                <c:pt idx="2">
                  <c:v>89.842519999999993</c:v>
                </c:pt>
                <c:pt idx="3">
                  <c:v>89.795919999999995</c:v>
                </c:pt>
                <c:pt idx="4">
                  <c:v>89.78622</c:v>
                </c:pt>
                <c:pt idx="5">
                  <c:v>89.21002</c:v>
                </c:pt>
                <c:pt idx="6">
                  <c:v>89.143140000000002</c:v>
                </c:pt>
                <c:pt idx="7">
                  <c:v>88.87115</c:v>
                </c:pt>
                <c:pt idx="8">
                  <c:v>88.823089999999993</c:v>
                </c:pt>
                <c:pt idx="9">
                  <c:v>87.72063</c:v>
                </c:pt>
                <c:pt idx="10">
                  <c:v>87.242800000000003</c:v>
                </c:pt>
                <c:pt idx="11">
                  <c:v>84.705879999999993</c:v>
                </c:pt>
                <c:pt idx="12">
                  <c:v>84.665369999999996</c:v>
                </c:pt>
                <c:pt idx="13">
                  <c:v>84.39716</c:v>
                </c:pt>
                <c:pt idx="14">
                  <c:v>83.6771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7.640199999999993</c:v>
                </c:pt>
                <c:pt idx="1">
                  <c:v>87.475539999999995</c:v>
                </c:pt>
                <c:pt idx="2">
                  <c:v>86.639240000000001</c:v>
                </c:pt>
                <c:pt idx="3">
                  <c:v>86.464709999999997</c:v>
                </c:pt>
                <c:pt idx="4">
                  <c:v>85.679630000000003</c:v>
                </c:pt>
                <c:pt idx="5">
                  <c:v>85.527659999999997</c:v>
                </c:pt>
                <c:pt idx="6">
                  <c:v>84.272790000000001</c:v>
                </c:pt>
                <c:pt idx="7">
                  <c:v>83.695939999999993</c:v>
                </c:pt>
                <c:pt idx="8">
                  <c:v>83.115520000000004</c:v>
                </c:pt>
                <c:pt idx="9">
                  <c:v>82.563919999999996</c:v>
                </c:pt>
                <c:pt idx="10">
                  <c:v>82.138750000000002</c:v>
                </c:pt>
                <c:pt idx="11">
                  <c:v>80.021600000000007</c:v>
                </c:pt>
                <c:pt idx="12">
                  <c:v>78.054000000000002</c:v>
                </c:pt>
                <c:pt idx="13">
                  <c:v>77.73563</c:v>
                </c:pt>
                <c:pt idx="14">
                  <c:v>76.39494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8.253495960011889E-2"/>
          <c:w val="0.45963458745004687"/>
          <c:h val="0.897696640933274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10 Zdravotně-sociální pracovník</c:v>
                </c:pt>
                <c:pt idx="19">
                  <c:v>§ 7 Ergoterapeut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25 Radiologický fyz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357</c:v>
                </c:pt>
                <c:pt idx="1">
                  <c:v>1514</c:v>
                </c:pt>
                <c:pt idx="2">
                  <c:v>1273</c:v>
                </c:pt>
                <c:pt idx="3">
                  <c:v>1102</c:v>
                </c:pt>
                <c:pt idx="4">
                  <c:v>1038</c:v>
                </c:pt>
                <c:pt idx="5">
                  <c:v>773</c:v>
                </c:pt>
                <c:pt idx="6">
                  <c:v>577</c:v>
                </c:pt>
                <c:pt idx="7">
                  <c:v>566</c:v>
                </c:pt>
                <c:pt idx="8">
                  <c:v>464</c:v>
                </c:pt>
                <c:pt idx="9">
                  <c:v>420</c:v>
                </c:pt>
                <c:pt idx="10">
                  <c:v>406</c:v>
                </c:pt>
                <c:pt idx="11">
                  <c:v>330</c:v>
                </c:pt>
                <c:pt idx="12">
                  <c:v>249</c:v>
                </c:pt>
                <c:pt idx="13">
                  <c:v>202</c:v>
                </c:pt>
                <c:pt idx="14">
                  <c:v>193</c:v>
                </c:pt>
                <c:pt idx="15">
                  <c:v>174</c:v>
                </c:pt>
                <c:pt idx="16">
                  <c:v>140</c:v>
                </c:pt>
                <c:pt idx="17">
                  <c:v>133</c:v>
                </c:pt>
                <c:pt idx="18">
                  <c:v>122</c:v>
                </c:pt>
                <c:pt idx="19">
                  <c:v>121</c:v>
                </c:pt>
                <c:pt idx="20">
                  <c:v>112</c:v>
                </c:pt>
                <c:pt idx="21">
                  <c:v>103</c:v>
                </c:pt>
                <c:pt idx="22">
                  <c:v>57</c:v>
                </c:pt>
                <c:pt idx="23">
                  <c:v>40</c:v>
                </c:pt>
                <c:pt idx="24">
                  <c:v>31</c:v>
                </c:pt>
                <c:pt idx="25">
                  <c:v>27</c:v>
                </c:pt>
                <c:pt idx="26">
                  <c:v>19</c:v>
                </c:pt>
                <c:pt idx="27">
                  <c:v>17</c:v>
                </c:pt>
                <c:pt idx="28">
                  <c:v>14</c:v>
                </c:pt>
                <c:pt idx="29">
                  <c:v>14</c:v>
                </c:pt>
                <c:pt idx="30">
                  <c:v>8</c:v>
                </c:pt>
                <c:pt idx="31">
                  <c:v>8</c:v>
                </c:pt>
                <c:pt idx="32">
                  <c:v>7</c:v>
                </c:pt>
                <c:pt idx="33">
                  <c:v>3</c:v>
                </c:pt>
                <c:pt idx="34">
                  <c:v>2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8.253495960011889E-2"/>
          <c:w val="0.45963458745004687"/>
          <c:h val="0.897696640933274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23 Logoped ve zdravotnictví</c:v>
                </c:pt>
                <c:pt idx="18">
                  <c:v>§ 11 Optometrista</c:v>
                </c:pt>
                <c:pt idx="19">
                  <c:v>§ 7 Ergoterapeut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5 Radiologický fyzik</c:v>
                </c:pt>
                <c:pt idx="26">
                  <c:v>§ 28 Odborný pracovník v ochraně a podpoře veřejného zdraví</c:v>
                </c:pt>
                <c:pt idx="27">
                  <c:v>§ 13 Asistent ochrany a podpory veřejného zdraví</c:v>
                </c:pt>
                <c:pt idx="28">
                  <c:v>§ 20 Biomedicínský technik</c:v>
                </c:pt>
                <c:pt idx="29">
                  <c:v>§ 14 Ortotik-protet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014</c:v>
                </c:pt>
                <c:pt idx="1">
                  <c:v>588</c:v>
                </c:pt>
                <c:pt idx="2">
                  <c:v>506</c:v>
                </c:pt>
                <c:pt idx="3">
                  <c:v>469</c:v>
                </c:pt>
                <c:pt idx="4">
                  <c:v>378</c:v>
                </c:pt>
                <c:pt idx="5">
                  <c:v>238</c:v>
                </c:pt>
                <c:pt idx="6">
                  <c:v>217</c:v>
                </c:pt>
                <c:pt idx="7">
                  <c:v>203</c:v>
                </c:pt>
                <c:pt idx="8">
                  <c:v>192</c:v>
                </c:pt>
                <c:pt idx="9">
                  <c:v>171</c:v>
                </c:pt>
                <c:pt idx="10">
                  <c:v>145</c:v>
                </c:pt>
                <c:pt idx="11">
                  <c:v>108</c:v>
                </c:pt>
                <c:pt idx="12">
                  <c:v>83</c:v>
                </c:pt>
                <c:pt idx="13">
                  <c:v>73</c:v>
                </c:pt>
                <c:pt idx="14">
                  <c:v>70</c:v>
                </c:pt>
                <c:pt idx="15">
                  <c:v>60</c:v>
                </c:pt>
                <c:pt idx="16">
                  <c:v>59</c:v>
                </c:pt>
                <c:pt idx="17">
                  <c:v>58</c:v>
                </c:pt>
                <c:pt idx="18">
                  <c:v>51</c:v>
                </c:pt>
                <c:pt idx="19">
                  <c:v>49</c:v>
                </c:pt>
                <c:pt idx="20">
                  <c:v>42</c:v>
                </c:pt>
                <c:pt idx="21">
                  <c:v>37</c:v>
                </c:pt>
                <c:pt idx="22">
                  <c:v>22</c:v>
                </c:pt>
                <c:pt idx="23">
                  <c:v>16</c:v>
                </c:pt>
                <c:pt idx="24">
                  <c:v>14</c:v>
                </c:pt>
                <c:pt idx="25">
                  <c:v>8</c:v>
                </c:pt>
                <c:pt idx="26">
                  <c:v>8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6.21</c:v>
                </c:pt>
                <c:pt idx="1">
                  <c:v>11.06.21</c:v>
                </c:pt>
                <c:pt idx="2">
                  <c:v>12.06.21</c:v>
                </c:pt>
                <c:pt idx="3">
                  <c:v>13.06.21</c:v>
                </c:pt>
                <c:pt idx="4">
                  <c:v>14.06.21</c:v>
                </c:pt>
                <c:pt idx="5">
                  <c:v>15.06.21</c:v>
                </c:pt>
                <c:pt idx="6">
                  <c:v>16.06.21</c:v>
                </c:pt>
                <c:pt idx="7">
                  <c:v>17.06.21</c:v>
                </c:pt>
                <c:pt idx="8">
                  <c:v>18.06.21</c:v>
                </c:pt>
                <c:pt idx="9">
                  <c:v>19.06.21</c:v>
                </c:pt>
                <c:pt idx="10">
                  <c:v>20.06.21</c:v>
                </c:pt>
                <c:pt idx="11">
                  <c:v>21.06.21</c:v>
                </c:pt>
                <c:pt idx="12">
                  <c:v>22.06.21</c:v>
                </c:pt>
                <c:pt idx="13">
                  <c:v>23.06.21</c:v>
                </c:pt>
                <c:pt idx="14">
                  <c:v>24.06.21</c:v>
                </c:pt>
                <c:pt idx="15">
                  <c:v>25.06.21</c:v>
                </c:pt>
                <c:pt idx="16">
                  <c:v>26.06.21</c:v>
                </c:pt>
                <c:pt idx="17">
                  <c:v>27.06.21</c:v>
                </c:pt>
                <c:pt idx="18">
                  <c:v>28.06.21</c:v>
                </c:pt>
                <c:pt idx="19">
                  <c:v>29.06.21</c:v>
                </c:pt>
                <c:pt idx="20">
                  <c:v>30.06.21</c:v>
                </c:pt>
                <c:pt idx="21">
                  <c:v>01.07.21</c:v>
                </c:pt>
                <c:pt idx="22">
                  <c:v>02.07.21</c:v>
                </c:pt>
                <c:pt idx="23">
                  <c:v>03.07.21</c:v>
                </c:pt>
                <c:pt idx="24">
                  <c:v>04.07.21</c:v>
                </c:pt>
                <c:pt idx="25">
                  <c:v>05.07.21</c:v>
                </c:pt>
                <c:pt idx="26">
                  <c:v>06.07.21</c:v>
                </c:pt>
                <c:pt idx="27">
                  <c:v>07.07.21</c:v>
                </c:pt>
                <c:pt idx="28">
                  <c:v>08.07.21</c:v>
                </c:pt>
                <c:pt idx="29">
                  <c:v>09.07.21</c:v>
                </c:pt>
                <c:pt idx="30">
                  <c:v>10.07.21</c:v>
                </c:pt>
                <c:pt idx="31">
                  <c:v>11.07.21</c:v>
                </c:pt>
                <c:pt idx="32">
                  <c:v>12.07.21</c:v>
                </c:pt>
                <c:pt idx="33">
                  <c:v>13.07.21</c:v>
                </c:pt>
                <c:pt idx="34">
                  <c:v>14.07.21</c:v>
                </c:pt>
                <c:pt idx="35">
                  <c:v>15.07.21</c:v>
                </c:pt>
                <c:pt idx="36">
                  <c:v>16.07.21</c:v>
                </c:pt>
                <c:pt idx="37">
                  <c:v>17.07.21</c:v>
                </c:pt>
                <c:pt idx="38">
                  <c:v>18.07.21</c:v>
                </c:pt>
                <c:pt idx="39">
                  <c:v>19.07.21</c:v>
                </c:pt>
                <c:pt idx="40">
                  <c:v>20.07.21</c:v>
                </c:pt>
                <c:pt idx="41">
                  <c:v>21.07.21</c:v>
                </c:pt>
                <c:pt idx="42">
                  <c:v>22.07.21</c:v>
                </c:pt>
                <c:pt idx="43">
                  <c:v>23.07.21</c:v>
                </c:pt>
                <c:pt idx="44">
                  <c:v>24.07.21</c:v>
                </c:pt>
                <c:pt idx="45">
                  <c:v>25.07.21</c:v>
                </c:pt>
                <c:pt idx="46">
                  <c:v>26.07.21</c:v>
                </c:pt>
                <c:pt idx="47">
                  <c:v>27.07.21</c:v>
                </c:pt>
                <c:pt idx="48">
                  <c:v>28.07.21</c:v>
                </c:pt>
                <c:pt idx="49">
                  <c:v>29.07.21</c:v>
                </c:pt>
                <c:pt idx="50">
                  <c:v>30.07.21</c:v>
                </c:pt>
                <c:pt idx="51">
                  <c:v>31.07.21</c:v>
                </c:pt>
                <c:pt idx="52">
                  <c:v>01.08.21</c:v>
                </c:pt>
                <c:pt idx="53">
                  <c:v>02.08.21</c:v>
                </c:pt>
                <c:pt idx="54">
                  <c:v>03.08.21</c:v>
                </c:pt>
                <c:pt idx="55">
                  <c:v>04.08.21</c:v>
                </c:pt>
                <c:pt idx="56">
                  <c:v>05.08.21</c:v>
                </c:pt>
                <c:pt idx="57">
                  <c:v>06.08.21</c:v>
                </c:pt>
                <c:pt idx="58">
                  <c:v>07.08.21</c:v>
                </c:pt>
                <c:pt idx="59">
                  <c:v>08.08.21</c:v>
                </c:pt>
                <c:pt idx="60">
                  <c:v>09.08.21</c:v>
                </c:pt>
                <c:pt idx="61">
                  <c:v>10.08.21</c:v>
                </c:pt>
                <c:pt idx="62">
                  <c:v>11.08.21</c:v>
                </c:pt>
                <c:pt idx="63">
                  <c:v>12.08.21</c:v>
                </c:pt>
                <c:pt idx="64">
                  <c:v>13.08.21</c:v>
                </c:pt>
                <c:pt idx="65">
                  <c:v>14.08.21</c:v>
                </c:pt>
                <c:pt idx="66">
                  <c:v>15.08.21</c:v>
                </c:pt>
                <c:pt idx="67">
                  <c:v>16.08.21</c:v>
                </c:pt>
                <c:pt idx="68">
                  <c:v>17.08.21</c:v>
                </c:pt>
                <c:pt idx="69">
                  <c:v>18.08.21</c:v>
                </c:pt>
                <c:pt idx="70">
                  <c:v>19.08.21</c:v>
                </c:pt>
                <c:pt idx="71">
                  <c:v>20.08.21</c:v>
                </c:pt>
                <c:pt idx="72">
                  <c:v>21.08.21</c:v>
                </c:pt>
                <c:pt idx="73">
                  <c:v>22.08.21</c:v>
                </c:pt>
                <c:pt idx="74">
                  <c:v>23.08.21</c:v>
                </c:pt>
                <c:pt idx="75">
                  <c:v>24.08.21</c:v>
                </c:pt>
                <c:pt idx="76">
                  <c:v>25.08.21</c:v>
                </c:pt>
                <c:pt idx="77">
                  <c:v>26.08.21</c:v>
                </c:pt>
                <c:pt idx="78">
                  <c:v>27.08.21</c:v>
                </c:pt>
                <c:pt idx="79">
                  <c:v>28.08.21</c:v>
                </c:pt>
                <c:pt idx="80">
                  <c:v>29.08.21</c:v>
                </c:pt>
                <c:pt idx="81">
                  <c:v>30.08.21</c:v>
                </c:pt>
                <c:pt idx="82">
                  <c:v>31.08.21</c:v>
                </c:pt>
                <c:pt idx="83">
                  <c:v>01.09.21</c:v>
                </c:pt>
                <c:pt idx="84">
                  <c:v>02.09.21</c:v>
                </c:pt>
                <c:pt idx="85">
                  <c:v>03.09.21</c:v>
                </c:pt>
                <c:pt idx="86">
                  <c:v>04.09.21</c:v>
                </c:pt>
                <c:pt idx="87">
                  <c:v>05.09.21</c:v>
                </c:pt>
                <c:pt idx="88">
                  <c:v>06.09.21</c:v>
                </c:pt>
                <c:pt idx="89">
                  <c:v>07.09.21</c:v>
                </c:pt>
                <c:pt idx="90">
                  <c:v>08.09.21</c:v>
                </c:pt>
                <c:pt idx="91">
                  <c:v>09.09.21</c:v>
                </c:pt>
                <c:pt idx="92">
                  <c:v>10.09.21</c:v>
                </c:pt>
                <c:pt idx="93">
                  <c:v>11.09.21</c:v>
                </c:pt>
                <c:pt idx="94">
                  <c:v>12.09.21</c:v>
                </c:pt>
                <c:pt idx="95">
                  <c:v>13.09.21</c:v>
                </c:pt>
                <c:pt idx="96">
                  <c:v>14.09.21</c:v>
                </c:pt>
                <c:pt idx="97">
                  <c:v>15.09.21</c:v>
                </c:pt>
                <c:pt idx="98">
                  <c:v>16.09.21</c:v>
                </c:pt>
                <c:pt idx="99">
                  <c:v>17.09.21</c:v>
                </c:pt>
                <c:pt idx="100">
                  <c:v>18.09.21</c:v>
                </c:pt>
                <c:pt idx="101">
                  <c:v>19.09.21</c:v>
                </c:pt>
                <c:pt idx="102">
                  <c:v>20.09.21</c:v>
                </c:pt>
                <c:pt idx="103">
                  <c:v>21.09.21</c:v>
                </c:pt>
                <c:pt idx="104">
                  <c:v>22.09.21</c:v>
                </c:pt>
                <c:pt idx="105">
                  <c:v>23.09.21</c:v>
                </c:pt>
                <c:pt idx="106">
                  <c:v>24.09.21</c:v>
                </c:pt>
                <c:pt idx="107">
                  <c:v>25.09.21</c:v>
                </c:pt>
                <c:pt idx="108">
                  <c:v>26.09.21</c:v>
                </c:pt>
                <c:pt idx="109">
                  <c:v>27.09.21</c:v>
                </c:pt>
                <c:pt idx="110">
                  <c:v>28.09.21</c:v>
                </c:pt>
                <c:pt idx="111">
                  <c:v>29.09.21</c:v>
                </c:pt>
                <c:pt idx="112">
                  <c:v>30.09.21</c:v>
                </c:pt>
                <c:pt idx="113">
                  <c:v>01.10.21</c:v>
                </c:pt>
                <c:pt idx="114">
                  <c:v>02.10.21</c:v>
                </c:pt>
                <c:pt idx="115">
                  <c:v>03.10.21</c:v>
                </c:pt>
                <c:pt idx="116">
                  <c:v>04.10.21</c:v>
                </c:pt>
                <c:pt idx="117">
                  <c:v>05.10.21</c:v>
                </c:pt>
                <c:pt idx="118">
                  <c:v>06.10.21</c:v>
                </c:pt>
                <c:pt idx="119">
                  <c:v>07.10.21</c:v>
                </c:pt>
                <c:pt idx="120">
                  <c:v>08.10.21</c:v>
                </c:pt>
                <c:pt idx="121">
                  <c:v>09.10.21</c:v>
                </c:pt>
                <c:pt idx="122">
                  <c:v>10.10.21</c:v>
                </c:pt>
                <c:pt idx="123">
                  <c:v>11.10.21</c:v>
                </c:pt>
                <c:pt idx="124">
                  <c:v>12.10.21</c:v>
                </c:pt>
                <c:pt idx="125">
                  <c:v>13.10.21</c:v>
                </c:pt>
                <c:pt idx="126">
                  <c:v>14.10.21</c:v>
                </c:pt>
                <c:pt idx="127">
                  <c:v>15.10.21</c:v>
                </c:pt>
                <c:pt idx="128">
                  <c:v>16.10.21</c:v>
                </c:pt>
                <c:pt idx="129">
                  <c:v>17.10.21</c:v>
                </c:pt>
                <c:pt idx="130">
                  <c:v>18.10.21</c:v>
                </c:pt>
                <c:pt idx="131">
                  <c:v>19.10.21</c:v>
                </c:pt>
                <c:pt idx="132">
                  <c:v>20.10.21</c:v>
                </c:pt>
                <c:pt idx="133">
                  <c:v>21.10.21</c:v>
                </c:pt>
                <c:pt idx="134">
                  <c:v>22.10.21</c:v>
                </c:pt>
                <c:pt idx="135">
                  <c:v>23.10.21</c:v>
                </c:pt>
                <c:pt idx="136">
                  <c:v>24.10.21</c:v>
                </c:pt>
                <c:pt idx="137">
                  <c:v>25.10.21</c:v>
                </c:pt>
                <c:pt idx="138">
                  <c:v>26.10.21</c:v>
                </c:pt>
                <c:pt idx="139">
                  <c:v>27.10.21</c:v>
                </c:pt>
                <c:pt idx="140">
                  <c:v>28.10.21</c:v>
                </c:pt>
                <c:pt idx="141">
                  <c:v>29.10.21</c:v>
                </c:pt>
                <c:pt idx="142">
                  <c:v>30.10.21</c:v>
                </c:pt>
                <c:pt idx="143">
                  <c:v>31.10.21</c:v>
                </c:pt>
                <c:pt idx="144">
                  <c:v>01.11.21</c:v>
                </c:pt>
                <c:pt idx="145">
                  <c:v>02.11.21</c:v>
                </c:pt>
                <c:pt idx="146">
                  <c:v>03.11.21</c:v>
                </c:pt>
                <c:pt idx="147">
                  <c:v>04.11.21</c:v>
                </c:pt>
                <c:pt idx="148">
                  <c:v>05.11.21</c:v>
                </c:pt>
                <c:pt idx="149">
                  <c:v>06.11.21</c:v>
                </c:pt>
                <c:pt idx="150">
                  <c:v>07.11.21</c:v>
                </c:pt>
                <c:pt idx="151">
                  <c:v>08.11.21</c:v>
                </c:pt>
                <c:pt idx="152">
                  <c:v>09.11.21</c:v>
                </c:pt>
                <c:pt idx="153">
                  <c:v>10.11.21</c:v>
                </c:pt>
                <c:pt idx="154">
                  <c:v>11.11.21</c:v>
                </c:pt>
                <c:pt idx="155">
                  <c:v>12.11.21</c:v>
                </c:pt>
                <c:pt idx="156">
                  <c:v>13.11.21</c:v>
                </c:pt>
                <c:pt idx="157">
                  <c:v>14.11.21</c:v>
                </c:pt>
                <c:pt idx="158">
                  <c:v>15.11.21</c:v>
                </c:pt>
                <c:pt idx="159">
                  <c:v>16.11.21</c:v>
                </c:pt>
                <c:pt idx="160">
                  <c:v>17.11.21</c:v>
                </c:pt>
                <c:pt idx="161">
                  <c:v>18.11.21</c:v>
                </c:pt>
                <c:pt idx="162">
                  <c:v>19.11.21</c:v>
                </c:pt>
                <c:pt idx="163">
                  <c:v>20.11.21</c:v>
                </c:pt>
                <c:pt idx="164">
                  <c:v>21.11.21</c:v>
                </c:pt>
                <c:pt idx="165">
                  <c:v>22.11.21</c:v>
                </c:pt>
                <c:pt idx="166">
                  <c:v>23.11.21</c:v>
                </c:pt>
                <c:pt idx="167">
                  <c:v>24.11.21</c:v>
                </c:pt>
                <c:pt idx="168">
                  <c:v>25.11.21</c:v>
                </c:pt>
                <c:pt idx="169">
                  <c:v>26.11.21</c:v>
                </c:pt>
                <c:pt idx="170">
                  <c:v>27.11.21</c:v>
                </c:pt>
                <c:pt idx="171">
                  <c:v>28.11.21</c:v>
                </c:pt>
                <c:pt idx="172">
                  <c:v>29.11.21</c:v>
                </c:pt>
                <c:pt idx="173">
                  <c:v>30.11.21</c:v>
                </c:pt>
                <c:pt idx="174">
                  <c:v>01.12.21</c:v>
                </c:pt>
                <c:pt idx="175">
                  <c:v>02.12.21</c:v>
                </c:pt>
                <c:pt idx="176">
                  <c:v>03.12.21</c:v>
                </c:pt>
                <c:pt idx="177">
                  <c:v>04.12.21</c:v>
                </c:pt>
                <c:pt idx="178">
                  <c:v>05.12.21</c:v>
                </c:pt>
                <c:pt idx="179">
                  <c:v>06.12.21</c:v>
                </c:pt>
                <c:pt idx="180">
                  <c:v>07.12.21</c:v>
                </c:pt>
                <c:pt idx="181">
                  <c:v>08.12.21</c:v>
                </c:pt>
                <c:pt idx="182">
                  <c:v>09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2</c:v>
                </c:pt>
                <c:pt idx="30">
                  <c:v>0</c:v>
                </c:pt>
                <c:pt idx="31">
                  <c:v>0</c:v>
                </c:pt>
                <c:pt idx="32">
                  <c:v>2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3</c:v>
                </c:pt>
                <c:pt idx="37">
                  <c:v>2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4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3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6</c:v>
                </c:pt>
                <c:pt idx="56">
                  <c:v>1</c:v>
                </c:pt>
                <c:pt idx="57">
                  <c:v>2</c:v>
                </c:pt>
                <c:pt idx="58">
                  <c:v>0</c:v>
                </c:pt>
                <c:pt idx="59">
                  <c:v>2</c:v>
                </c:pt>
                <c:pt idx="60">
                  <c:v>2</c:v>
                </c:pt>
                <c:pt idx="61">
                  <c:v>0</c:v>
                </c:pt>
                <c:pt idx="62">
                  <c:v>3</c:v>
                </c:pt>
                <c:pt idx="63">
                  <c:v>1</c:v>
                </c:pt>
                <c:pt idx="64">
                  <c:v>1</c:v>
                </c:pt>
                <c:pt idx="65">
                  <c:v>0</c:v>
                </c:pt>
                <c:pt idx="66">
                  <c:v>0</c:v>
                </c:pt>
                <c:pt idx="67">
                  <c:v>3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2</c:v>
                </c:pt>
                <c:pt idx="75">
                  <c:v>0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0</c:v>
                </c:pt>
                <c:pt idx="81">
                  <c:v>0</c:v>
                </c:pt>
                <c:pt idx="82">
                  <c:v>4</c:v>
                </c:pt>
                <c:pt idx="83">
                  <c:v>4</c:v>
                </c:pt>
                <c:pt idx="84">
                  <c:v>1</c:v>
                </c:pt>
                <c:pt idx="85">
                  <c:v>1</c:v>
                </c:pt>
                <c:pt idx="86">
                  <c:v>3</c:v>
                </c:pt>
                <c:pt idx="87">
                  <c:v>1</c:v>
                </c:pt>
                <c:pt idx="88">
                  <c:v>0</c:v>
                </c:pt>
                <c:pt idx="89">
                  <c:v>2</c:v>
                </c:pt>
                <c:pt idx="90">
                  <c:v>0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0</c:v>
                </c:pt>
                <c:pt idx="95">
                  <c:v>4</c:v>
                </c:pt>
                <c:pt idx="96">
                  <c:v>2</c:v>
                </c:pt>
                <c:pt idx="97">
                  <c:v>0</c:v>
                </c:pt>
                <c:pt idx="98">
                  <c:v>1</c:v>
                </c:pt>
                <c:pt idx="99">
                  <c:v>2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  <c:pt idx="103">
                  <c:v>3</c:v>
                </c:pt>
                <c:pt idx="104">
                  <c:v>3</c:v>
                </c:pt>
                <c:pt idx="105">
                  <c:v>2</c:v>
                </c:pt>
                <c:pt idx="106">
                  <c:v>3</c:v>
                </c:pt>
                <c:pt idx="107">
                  <c:v>0</c:v>
                </c:pt>
                <c:pt idx="108">
                  <c:v>2</c:v>
                </c:pt>
                <c:pt idx="109">
                  <c:v>6</c:v>
                </c:pt>
                <c:pt idx="110">
                  <c:v>4</c:v>
                </c:pt>
                <c:pt idx="111">
                  <c:v>3</c:v>
                </c:pt>
                <c:pt idx="112">
                  <c:v>9</c:v>
                </c:pt>
                <c:pt idx="113">
                  <c:v>2</c:v>
                </c:pt>
                <c:pt idx="114">
                  <c:v>5</c:v>
                </c:pt>
                <c:pt idx="115">
                  <c:v>1</c:v>
                </c:pt>
                <c:pt idx="116">
                  <c:v>0</c:v>
                </c:pt>
                <c:pt idx="117">
                  <c:v>2</c:v>
                </c:pt>
                <c:pt idx="118">
                  <c:v>5</c:v>
                </c:pt>
                <c:pt idx="119">
                  <c:v>6</c:v>
                </c:pt>
                <c:pt idx="120">
                  <c:v>6</c:v>
                </c:pt>
                <c:pt idx="121">
                  <c:v>1</c:v>
                </c:pt>
                <c:pt idx="122">
                  <c:v>1</c:v>
                </c:pt>
                <c:pt idx="123">
                  <c:v>3</c:v>
                </c:pt>
                <c:pt idx="124">
                  <c:v>10</c:v>
                </c:pt>
                <c:pt idx="125">
                  <c:v>7</c:v>
                </c:pt>
                <c:pt idx="126">
                  <c:v>7</c:v>
                </c:pt>
                <c:pt idx="127">
                  <c:v>6</c:v>
                </c:pt>
                <c:pt idx="128">
                  <c:v>5</c:v>
                </c:pt>
                <c:pt idx="129">
                  <c:v>8</c:v>
                </c:pt>
                <c:pt idx="130">
                  <c:v>17</c:v>
                </c:pt>
                <c:pt idx="131">
                  <c:v>16</c:v>
                </c:pt>
                <c:pt idx="132">
                  <c:v>13</c:v>
                </c:pt>
                <c:pt idx="133">
                  <c:v>13</c:v>
                </c:pt>
                <c:pt idx="134">
                  <c:v>16</c:v>
                </c:pt>
                <c:pt idx="135">
                  <c:v>12</c:v>
                </c:pt>
                <c:pt idx="136">
                  <c:v>12</c:v>
                </c:pt>
                <c:pt idx="137">
                  <c:v>29</c:v>
                </c:pt>
                <c:pt idx="138">
                  <c:v>20</c:v>
                </c:pt>
                <c:pt idx="139">
                  <c:v>23</c:v>
                </c:pt>
                <c:pt idx="140">
                  <c:v>22</c:v>
                </c:pt>
                <c:pt idx="141">
                  <c:v>36</c:v>
                </c:pt>
                <c:pt idx="142">
                  <c:v>21</c:v>
                </c:pt>
                <c:pt idx="143">
                  <c:v>18</c:v>
                </c:pt>
                <c:pt idx="144">
                  <c:v>55</c:v>
                </c:pt>
                <c:pt idx="145">
                  <c:v>37</c:v>
                </c:pt>
                <c:pt idx="146">
                  <c:v>38</c:v>
                </c:pt>
                <c:pt idx="147">
                  <c:v>27</c:v>
                </c:pt>
                <c:pt idx="148">
                  <c:v>40</c:v>
                </c:pt>
                <c:pt idx="149">
                  <c:v>20</c:v>
                </c:pt>
                <c:pt idx="150">
                  <c:v>18</c:v>
                </c:pt>
                <c:pt idx="151">
                  <c:v>52</c:v>
                </c:pt>
                <c:pt idx="152">
                  <c:v>46</c:v>
                </c:pt>
                <c:pt idx="153">
                  <c:v>48</c:v>
                </c:pt>
                <c:pt idx="154">
                  <c:v>49</c:v>
                </c:pt>
                <c:pt idx="155">
                  <c:v>41</c:v>
                </c:pt>
                <c:pt idx="156">
                  <c:v>49</c:v>
                </c:pt>
                <c:pt idx="157">
                  <c:v>22</c:v>
                </c:pt>
                <c:pt idx="158">
                  <c:v>62</c:v>
                </c:pt>
                <c:pt idx="159">
                  <c:v>57</c:v>
                </c:pt>
                <c:pt idx="160">
                  <c:v>44</c:v>
                </c:pt>
                <c:pt idx="161">
                  <c:v>52</c:v>
                </c:pt>
                <c:pt idx="162">
                  <c:v>78</c:v>
                </c:pt>
                <c:pt idx="163">
                  <c:v>43</c:v>
                </c:pt>
                <c:pt idx="164">
                  <c:v>31</c:v>
                </c:pt>
                <c:pt idx="165">
                  <c:v>60</c:v>
                </c:pt>
                <c:pt idx="166">
                  <c:v>71</c:v>
                </c:pt>
                <c:pt idx="167">
                  <c:v>41</c:v>
                </c:pt>
                <c:pt idx="168">
                  <c:v>65</c:v>
                </c:pt>
                <c:pt idx="169">
                  <c:v>53</c:v>
                </c:pt>
                <c:pt idx="170">
                  <c:v>33</c:v>
                </c:pt>
                <c:pt idx="171">
                  <c:v>40</c:v>
                </c:pt>
                <c:pt idx="172">
                  <c:v>57</c:v>
                </c:pt>
                <c:pt idx="173">
                  <c:v>46</c:v>
                </c:pt>
                <c:pt idx="174">
                  <c:v>53</c:v>
                </c:pt>
                <c:pt idx="175">
                  <c:v>39</c:v>
                </c:pt>
                <c:pt idx="176">
                  <c:v>50</c:v>
                </c:pt>
                <c:pt idx="177">
                  <c:v>24</c:v>
                </c:pt>
                <c:pt idx="178">
                  <c:v>15</c:v>
                </c:pt>
                <c:pt idx="179">
                  <c:v>43</c:v>
                </c:pt>
                <c:pt idx="180">
                  <c:v>34</c:v>
                </c:pt>
                <c:pt idx="181">
                  <c:v>28</c:v>
                </c:pt>
                <c:pt idx="182">
                  <c:v>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2.33118653806087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84775854416336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6.21</c:v>
                </c:pt>
                <c:pt idx="1">
                  <c:v>11.06.21</c:v>
                </c:pt>
                <c:pt idx="2">
                  <c:v>12.06.21</c:v>
                </c:pt>
                <c:pt idx="3">
                  <c:v>13.06.21</c:v>
                </c:pt>
                <c:pt idx="4">
                  <c:v>14.06.21</c:v>
                </c:pt>
                <c:pt idx="5">
                  <c:v>15.06.21</c:v>
                </c:pt>
                <c:pt idx="6">
                  <c:v>16.06.21</c:v>
                </c:pt>
                <c:pt idx="7">
                  <c:v>17.06.21</c:v>
                </c:pt>
                <c:pt idx="8">
                  <c:v>18.06.21</c:v>
                </c:pt>
                <c:pt idx="9">
                  <c:v>19.06.21</c:v>
                </c:pt>
                <c:pt idx="10">
                  <c:v>20.06.21</c:v>
                </c:pt>
                <c:pt idx="11">
                  <c:v>21.06.21</c:v>
                </c:pt>
                <c:pt idx="12">
                  <c:v>22.06.21</c:v>
                </c:pt>
                <c:pt idx="13">
                  <c:v>23.06.21</c:v>
                </c:pt>
                <c:pt idx="14">
                  <c:v>24.06.21</c:v>
                </c:pt>
                <c:pt idx="15">
                  <c:v>25.06.21</c:v>
                </c:pt>
                <c:pt idx="16">
                  <c:v>26.06.21</c:v>
                </c:pt>
                <c:pt idx="17">
                  <c:v>27.06.21</c:v>
                </c:pt>
                <c:pt idx="18">
                  <c:v>28.06.21</c:v>
                </c:pt>
                <c:pt idx="19">
                  <c:v>29.06.21</c:v>
                </c:pt>
                <c:pt idx="20">
                  <c:v>30.06.21</c:v>
                </c:pt>
                <c:pt idx="21">
                  <c:v>01.07.21</c:v>
                </c:pt>
                <c:pt idx="22">
                  <c:v>02.07.21</c:v>
                </c:pt>
                <c:pt idx="23">
                  <c:v>03.07.21</c:v>
                </c:pt>
                <c:pt idx="24">
                  <c:v>04.07.21</c:v>
                </c:pt>
                <c:pt idx="25">
                  <c:v>05.07.21</c:v>
                </c:pt>
                <c:pt idx="26">
                  <c:v>06.07.21</c:v>
                </c:pt>
                <c:pt idx="27">
                  <c:v>07.07.21</c:v>
                </c:pt>
                <c:pt idx="28">
                  <c:v>08.07.21</c:v>
                </c:pt>
                <c:pt idx="29">
                  <c:v>09.07.21</c:v>
                </c:pt>
                <c:pt idx="30">
                  <c:v>10.07.21</c:v>
                </c:pt>
                <c:pt idx="31">
                  <c:v>11.07.21</c:v>
                </c:pt>
                <c:pt idx="32">
                  <c:v>12.07.21</c:v>
                </c:pt>
                <c:pt idx="33">
                  <c:v>13.07.21</c:v>
                </c:pt>
                <c:pt idx="34">
                  <c:v>14.07.21</c:v>
                </c:pt>
                <c:pt idx="35">
                  <c:v>15.07.21</c:v>
                </c:pt>
                <c:pt idx="36">
                  <c:v>16.07.21</c:v>
                </c:pt>
                <c:pt idx="37">
                  <c:v>17.07.21</c:v>
                </c:pt>
                <c:pt idx="38">
                  <c:v>18.07.21</c:v>
                </c:pt>
                <c:pt idx="39">
                  <c:v>19.07.21</c:v>
                </c:pt>
                <c:pt idx="40">
                  <c:v>20.07.21</c:v>
                </c:pt>
                <c:pt idx="41">
                  <c:v>21.07.21</c:v>
                </c:pt>
                <c:pt idx="42">
                  <c:v>22.07.21</c:v>
                </c:pt>
                <c:pt idx="43">
                  <c:v>23.07.21</c:v>
                </c:pt>
                <c:pt idx="44">
                  <c:v>24.07.21</c:v>
                </c:pt>
                <c:pt idx="45">
                  <c:v>25.07.21</c:v>
                </c:pt>
                <c:pt idx="46">
                  <c:v>26.07.21</c:v>
                </c:pt>
                <c:pt idx="47">
                  <c:v>27.07.21</c:v>
                </c:pt>
                <c:pt idx="48">
                  <c:v>28.07.21</c:v>
                </c:pt>
                <c:pt idx="49">
                  <c:v>29.07.21</c:v>
                </c:pt>
                <c:pt idx="50">
                  <c:v>30.07.21</c:v>
                </c:pt>
                <c:pt idx="51">
                  <c:v>31.07.21</c:v>
                </c:pt>
                <c:pt idx="52">
                  <c:v>01.08.21</c:v>
                </c:pt>
                <c:pt idx="53">
                  <c:v>02.08.21</c:v>
                </c:pt>
                <c:pt idx="54">
                  <c:v>03.08.21</c:v>
                </c:pt>
                <c:pt idx="55">
                  <c:v>04.08.21</c:v>
                </c:pt>
                <c:pt idx="56">
                  <c:v>05.08.21</c:v>
                </c:pt>
                <c:pt idx="57">
                  <c:v>06.08.21</c:v>
                </c:pt>
                <c:pt idx="58">
                  <c:v>07.08.21</c:v>
                </c:pt>
                <c:pt idx="59">
                  <c:v>08.08.21</c:v>
                </c:pt>
                <c:pt idx="60">
                  <c:v>09.08.21</c:v>
                </c:pt>
                <c:pt idx="61">
                  <c:v>10.08.21</c:v>
                </c:pt>
                <c:pt idx="62">
                  <c:v>11.08.21</c:v>
                </c:pt>
                <c:pt idx="63">
                  <c:v>12.08.21</c:v>
                </c:pt>
                <c:pt idx="64">
                  <c:v>13.08.21</c:v>
                </c:pt>
                <c:pt idx="65">
                  <c:v>14.08.21</c:v>
                </c:pt>
                <c:pt idx="66">
                  <c:v>15.08.21</c:v>
                </c:pt>
                <c:pt idx="67">
                  <c:v>16.08.21</c:v>
                </c:pt>
                <c:pt idx="68">
                  <c:v>17.08.21</c:v>
                </c:pt>
                <c:pt idx="69">
                  <c:v>18.08.21</c:v>
                </c:pt>
                <c:pt idx="70">
                  <c:v>19.08.21</c:v>
                </c:pt>
                <c:pt idx="71">
                  <c:v>20.08.21</c:v>
                </c:pt>
                <c:pt idx="72">
                  <c:v>21.08.21</c:v>
                </c:pt>
                <c:pt idx="73">
                  <c:v>22.08.21</c:v>
                </c:pt>
                <c:pt idx="74">
                  <c:v>23.08.21</c:v>
                </c:pt>
                <c:pt idx="75">
                  <c:v>24.08.21</c:v>
                </c:pt>
                <c:pt idx="76">
                  <c:v>25.08.21</c:v>
                </c:pt>
                <c:pt idx="77">
                  <c:v>26.08.21</c:v>
                </c:pt>
                <c:pt idx="78">
                  <c:v>27.08.21</c:v>
                </c:pt>
                <c:pt idx="79">
                  <c:v>28.08.21</c:v>
                </c:pt>
                <c:pt idx="80">
                  <c:v>29.08.21</c:v>
                </c:pt>
                <c:pt idx="81">
                  <c:v>30.08.21</c:v>
                </c:pt>
                <c:pt idx="82">
                  <c:v>31.08.21</c:v>
                </c:pt>
                <c:pt idx="83">
                  <c:v>01.09.21</c:v>
                </c:pt>
                <c:pt idx="84">
                  <c:v>02.09.21</c:v>
                </c:pt>
                <c:pt idx="85">
                  <c:v>03.09.21</c:v>
                </c:pt>
                <c:pt idx="86">
                  <c:v>04.09.21</c:v>
                </c:pt>
                <c:pt idx="87">
                  <c:v>05.09.21</c:v>
                </c:pt>
                <c:pt idx="88">
                  <c:v>06.09.21</c:v>
                </c:pt>
                <c:pt idx="89">
                  <c:v>07.09.21</c:v>
                </c:pt>
                <c:pt idx="90">
                  <c:v>08.09.21</c:v>
                </c:pt>
                <c:pt idx="91">
                  <c:v>09.09.21</c:v>
                </c:pt>
                <c:pt idx="92">
                  <c:v>10.09.21</c:v>
                </c:pt>
                <c:pt idx="93">
                  <c:v>11.09.21</c:v>
                </c:pt>
                <c:pt idx="94">
                  <c:v>12.09.21</c:v>
                </c:pt>
                <c:pt idx="95">
                  <c:v>13.09.21</c:v>
                </c:pt>
                <c:pt idx="96">
                  <c:v>14.09.21</c:v>
                </c:pt>
                <c:pt idx="97">
                  <c:v>15.09.21</c:v>
                </c:pt>
                <c:pt idx="98">
                  <c:v>16.09.21</c:v>
                </c:pt>
                <c:pt idx="99">
                  <c:v>17.09.21</c:v>
                </c:pt>
                <c:pt idx="100">
                  <c:v>18.09.21</c:v>
                </c:pt>
                <c:pt idx="101">
                  <c:v>19.09.21</c:v>
                </c:pt>
                <c:pt idx="102">
                  <c:v>20.09.21</c:v>
                </c:pt>
                <c:pt idx="103">
                  <c:v>21.09.21</c:v>
                </c:pt>
                <c:pt idx="104">
                  <c:v>22.09.21</c:v>
                </c:pt>
                <c:pt idx="105">
                  <c:v>23.09.21</c:v>
                </c:pt>
                <c:pt idx="106">
                  <c:v>24.09.21</c:v>
                </c:pt>
                <c:pt idx="107">
                  <c:v>25.09.21</c:v>
                </c:pt>
                <c:pt idx="108">
                  <c:v>26.09.21</c:v>
                </c:pt>
                <c:pt idx="109">
                  <c:v>27.09.21</c:v>
                </c:pt>
                <c:pt idx="110">
                  <c:v>28.09.21</c:v>
                </c:pt>
                <c:pt idx="111">
                  <c:v>29.09.21</c:v>
                </c:pt>
                <c:pt idx="112">
                  <c:v>30.09.21</c:v>
                </c:pt>
                <c:pt idx="113">
                  <c:v>01.10.21</c:v>
                </c:pt>
                <c:pt idx="114">
                  <c:v>02.10.21</c:v>
                </c:pt>
                <c:pt idx="115">
                  <c:v>03.10.21</c:v>
                </c:pt>
                <c:pt idx="116">
                  <c:v>04.10.21</c:v>
                </c:pt>
                <c:pt idx="117">
                  <c:v>05.10.21</c:v>
                </c:pt>
                <c:pt idx="118">
                  <c:v>06.10.21</c:v>
                </c:pt>
                <c:pt idx="119">
                  <c:v>07.10.21</c:v>
                </c:pt>
                <c:pt idx="120">
                  <c:v>08.10.21</c:v>
                </c:pt>
                <c:pt idx="121">
                  <c:v>09.10.21</c:v>
                </c:pt>
                <c:pt idx="122">
                  <c:v>10.10.21</c:v>
                </c:pt>
                <c:pt idx="123">
                  <c:v>11.10.21</c:v>
                </c:pt>
                <c:pt idx="124">
                  <c:v>12.10.21</c:v>
                </c:pt>
                <c:pt idx="125">
                  <c:v>13.10.21</c:v>
                </c:pt>
                <c:pt idx="126">
                  <c:v>14.10.21</c:v>
                </c:pt>
                <c:pt idx="127">
                  <c:v>15.10.21</c:v>
                </c:pt>
                <c:pt idx="128">
                  <c:v>16.10.21</c:v>
                </c:pt>
                <c:pt idx="129">
                  <c:v>17.10.21</c:v>
                </c:pt>
                <c:pt idx="130">
                  <c:v>18.10.21</c:v>
                </c:pt>
                <c:pt idx="131">
                  <c:v>19.10.21</c:v>
                </c:pt>
                <c:pt idx="132">
                  <c:v>20.10.21</c:v>
                </c:pt>
                <c:pt idx="133">
                  <c:v>21.10.21</c:v>
                </c:pt>
                <c:pt idx="134">
                  <c:v>22.10.21</c:v>
                </c:pt>
                <c:pt idx="135">
                  <c:v>23.10.21</c:v>
                </c:pt>
                <c:pt idx="136">
                  <c:v>24.10.21</c:v>
                </c:pt>
                <c:pt idx="137">
                  <c:v>25.10.21</c:v>
                </c:pt>
                <c:pt idx="138">
                  <c:v>26.10.21</c:v>
                </c:pt>
                <c:pt idx="139">
                  <c:v>27.10.21</c:v>
                </c:pt>
                <c:pt idx="140">
                  <c:v>28.10.21</c:v>
                </c:pt>
                <c:pt idx="141">
                  <c:v>29.10.21</c:v>
                </c:pt>
                <c:pt idx="142">
                  <c:v>30.10.21</c:v>
                </c:pt>
                <c:pt idx="143">
                  <c:v>31.10.21</c:v>
                </c:pt>
                <c:pt idx="144">
                  <c:v>01.11.21</c:v>
                </c:pt>
                <c:pt idx="145">
                  <c:v>02.11.21</c:v>
                </c:pt>
                <c:pt idx="146">
                  <c:v>03.11.21</c:v>
                </c:pt>
                <c:pt idx="147">
                  <c:v>04.11.21</c:v>
                </c:pt>
                <c:pt idx="148">
                  <c:v>05.11.21</c:v>
                </c:pt>
                <c:pt idx="149">
                  <c:v>06.11.21</c:v>
                </c:pt>
                <c:pt idx="150">
                  <c:v>07.11.21</c:v>
                </c:pt>
                <c:pt idx="151">
                  <c:v>08.11.21</c:v>
                </c:pt>
                <c:pt idx="152">
                  <c:v>09.11.21</c:v>
                </c:pt>
                <c:pt idx="153">
                  <c:v>10.11.21</c:v>
                </c:pt>
                <c:pt idx="154">
                  <c:v>11.11.21</c:v>
                </c:pt>
                <c:pt idx="155">
                  <c:v>12.11.21</c:v>
                </c:pt>
                <c:pt idx="156">
                  <c:v>13.11.21</c:v>
                </c:pt>
                <c:pt idx="157">
                  <c:v>14.11.21</c:v>
                </c:pt>
                <c:pt idx="158">
                  <c:v>15.11.21</c:v>
                </c:pt>
                <c:pt idx="159">
                  <c:v>16.11.21</c:v>
                </c:pt>
                <c:pt idx="160">
                  <c:v>17.11.21</c:v>
                </c:pt>
                <c:pt idx="161">
                  <c:v>18.11.21</c:v>
                </c:pt>
                <c:pt idx="162">
                  <c:v>19.11.21</c:v>
                </c:pt>
                <c:pt idx="163">
                  <c:v>20.11.21</c:v>
                </c:pt>
                <c:pt idx="164">
                  <c:v>21.11.21</c:v>
                </c:pt>
                <c:pt idx="165">
                  <c:v>22.11.21</c:v>
                </c:pt>
                <c:pt idx="166">
                  <c:v>23.11.21</c:v>
                </c:pt>
                <c:pt idx="167">
                  <c:v>24.11.21</c:v>
                </c:pt>
                <c:pt idx="168">
                  <c:v>25.11.21</c:v>
                </c:pt>
                <c:pt idx="169">
                  <c:v>26.11.21</c:v>
                </c:pt>
                <c:pt idx="170">
                  <c:v>27.11.21</c:v>
                </c:pt>
                <c:pt idx="171">
                  <c:v>28.11.21</c:v>
                </c:pt>
                <c:pt idx="172">
                  <c:v>29.11.21</c:v>
                </c:pt>
                <c:pt idx="173">
                  <c:v>30.11.21</c:v>
                </c:pt>
                <c:pt idx="174">
                  <c:v>01.12.21</c:v>
                </c:pt>
                <c:pt idx="175">
                  <c:v>02.12.21</c:v>
                </c:pt>
                <c:pt idx="176">
                  <c:v>03.12.21</c:v>
                </c:pt>
                <c:pt idx="177">
                  <c:v>04.12.21</c:v>
                </c:pt>
                <c:pt idx="178">
                  <c:v>05.12.21</c:v>
                </c:pt>
                <c:pt idx="179">
                  <c:v>06.12.21</c:v>
                </c:pt>
                <c:pt idx="180">
                  <c:v>07.12.21</c:v>
                </c:pt>
                <c:pt idx="181">
                  <c:v>08.12.21</c:v>
                </c:pt>
                <c:pt idx="182">
                  <c:v>09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2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0</c:v>
                </c:pt>
                <c:pt idx="24">
                  <c:v>1</c:v>
                </c:pt>
                <c:pt idx="25">
                  <c:v>4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2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4</c:v>
                </c:pt>
                <c:pt idx="40">
                  <c:v>0</c:v>
                </c:pt>
                <c:pt idx="41">
                  <c:v>4</c:v>
                </c:pt>
                <c:pt idx="42">
                  <c:v>0</c:v>
                </c:pt>
                <c:pt idx="43">
                  <c:v>4</c:v>
                </c:pt>
                <c:pt idx="44">
                  <c:v>1</c:v>
                </c:pt>
                <c:pt idx="45">
                  <c:v>1</c:v>
                </c:pt>
                <c:pt idx="46">
                  <c:v>3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2</c:v>
                </c:pt>
                <c:pt idx="55">
                  <c:v>1</c:v>
                </c:pt>
                <c:pt idx="56">
                  <c:v>0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2</c:v>
                </c:pt>
                <c:pt idx="65">
                  <c:v>3</c:v>
                </c:pt>
                <c:pt idx="66">
                  <c:v>1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4</c:v>
                </c:pt>
                <c:pt idx="75">
                  <c:v>2</c:v>
                </c:pt>
                <c:pt idx="76">
                  <c:v>0</c:v>
                </c:pt>
                <c:pt idx="77">
                  <c:v>2</c:v>
                </c:pt>
                <c:pt idx="78">
                  <c:v>1</c:v>
                </c:pt>
                <c:pt idx="79">
                  <c:v>2</c:v>
                </c:pt>
                <c:pt idx="80">
                  <c:v>1</c:v>
                </c:pt>
                <c:pt idx="81">
                  <c:v>0</c:v>
                </c:pt>
                <c:pt idx="82">
                  <c:v>2</c:v>
                </c:pt>
                <c:pt idx="83">
                  <c:v>1</c:v>
                </c:pt>
                <c:pt idx="84">
                  <c:v>5</c:v>
                </c:pt>
                <c:pt idx="85">
                  <c:v>6</c:v>
                </c:pt>
                <c:pt idx="86">
                  <c:v>1</c:v>
                </c:pt>
                <c:pt idx="87">
                  <c:v>0</c:v>
                </c:pt>
                <c:pt idx="88">
                  <c:v>2</c:v>
                </c:pt>
                <c:pt idx="89">
                  <c:v>6</c:v>
                </c:pt>
                <c:pt idx="90">
                  <c:v>1</c:v>
                </c:pt>
                <c:pt idx="91">
                  <c:v>4</c:v>
                </c:pt>
                <c:pt idx="92">
                  <c:v>0</c:v>
                </c:pt>
                <c:pt idx="93">
                  <c:v>1</c:v>
                </c:pt>
                <c:pt idx="94">
                  <c:v>2</c:v>
                </c:pt>
                <c:pt idx="95">
                  <c:v>3</c:v>
                </c:pt>
                <c:pt idx="96">
                  <c:v>4</c:v>
                </c:pt>
                <c:pt idx="97">
                  <c:v>3</c:v>
                </c:pt>
                <c:pt idx="98">
                  <c:v>7</c:v>
                </c:pt>
                <c:pt idx="99">
                  <c:v>5</c:v>
                </c:pt>
                <c:pt idx="100">
                  <c:v>2</c:v>
                </c:pt>
                <c:pt idx="101">
                  <c:v>2</c:v>
                </c:pt>
                <c:pt idx="102">
                  <c:v>10</c:v>
                </c:pt>
                <c:pt idx="103">
                  <c:v>7</c:v>
                </c:pt>
                <c:pt idx="104">
                  <c:v>6</c:v>
                </c:pt>
                <c:pt idx="105">
                  <c:v>5</c:v>
                </c:pt>
                <c:pt idx="106">
                  <c:v>7</c:v>
                </c:pt>
                <c:pt idx="107">
                  <c:v>7</c:v>
                </c:pt>
                <c:pt idx="108">
                  <c:v>6</c:v>
                </c:pt>
                <c:pt idx="109">
                  <c:v>5</c:v>
                </c:pt>
                <c:pt idx="110">
                  <c:v>7</c:v>
                </c:pt>
                <c:pt idx="111">
                  <c:v>12</c:v>
                </c:pt>
                <c:pt idx="112">
                  <c:v>15</c:v>
                </c:pt>
                <c:pt idx="113">
                  <c:v>7</c:v>
                </c:pt>
                <c:pt idx="114">
                  <c:v>5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9</c:v>
                </c:pt>
                <c:pt idx="119">
                  <c:v>8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17</c:v>
                </c:pt>
                <c:pt idx="124">
                  <c:v>17</c:v>
                </c:pt>
                <c:pt idx="125">
                  <c:v>20</c:v>
                </c:pt>
                <c:pt idx="126">
                  <c:v>19</c:v>
                </c:pt>
                <c:pt idx="127">
                  <c:v>17</c:v>
                </c:pt>
                <c:pt idx="128">
                  <c:v>10</c:v>
                </c:pt>
                <c:pt idx="129">
                  <c:v>10</c:v>
                </c:pt>
                <c:pt idx="130">
                  <c:v>32</c:v>
                </c:pt>
                <c:pt idx="131">
                  <c:v>25</c:v>
                </c:pt>
                <c:pt idx="132">
                  <c:v>24</c:v>
                </c:pt>
                <c:pt idx="133">
                  <c:v>48</c:v>
                </c:pt>
                <c:pt idx="134">
                  <c:v>38</c:v>
                </c:pt>
                <c:pt idx="135">
                  <c:v>31</c:v>
                </c:pt>
                <c:pt idx="136">
                  <c:v>11</c:v>
                </c:pt>
                <c:pt idx="137">
                  <c:v>59</c:v>
                </c:pt>
                <c:pt idx="138">
                  <c:v>63</c:v>
                </c:pt>
                <c:pt idx="139">
                  <c:v>71</c:v>
                </c:pt>
                <c:pt idx="140">
                  <c:v>31</c:v>
                </c:pt>
                <c:pt idx="141">
                  <c:v>75</c:v>
                </c:pt>
                <c:pt idx="142">
                  <c:v>56</c:v>
                </c:pt>
                <c:pt idx="143">
                  <c:v>37</c:v>
                </c:pt>
                <c:pt idx="144">
                  <c:v>103</c:v>
                </c:pt>
                <c:pt idx="145">
                  <c:v>100</c:v>
                </c:pt>
                <c:pt idx="146">
                  <c:v>108</c:v>
                </c:pt>
                <c:pt idx="147">
                  <c:v>95</c:v>
                </c:pt>
                <c:pt idx="148">
                  <c:v>107</c:v>
                </c:pt>
                <c:pt idx="149">
                  <c:v>78</c:v>
                </c:pt>
                <c:pt idx="150">
                  <c:v>25</c:v>
                </c:pt>
                <c:pt idx="151">
                  <c:v>120</c:v>
                </c:pt>
                <c:pt idx="152">
                  <c:v>132</c:v>
                </c:pt>
                <c:pt idx="153">
                  <c:v>163</c:v>
                </c:pt>
                <c:pt idx="154">
                  <c:v>90</c:v>
                </c:pt>
                <c:pt idx="155">
                  <c:v>151</c:v>
                </c:pt>
                <c:pt idx="156">
                  <c:v>86</c:v>
                </c:pt>
                <c:pt idx="157">
                  <c:v>52</c:v>
                </c:pt>
                <c:pt idx="158">
                  <c:v>147</c:v>
                </c:pt>
                <c:pt idx="159">
                  <c:v>214</c:v>
                </c:pt>
                <c:pt idx="160">
                  <c:v>105</c:v>
                </c:pt>
                <c:pt idx="161">
                  <c:v>152</c:v>
                </c:pt>
                <c:pt idx="162">
                  <c:v>212</c:v>
                </c:pt>
                <c:pt idx="163">
                  <c:v>144</c:v>
                </c:pt>
                <c:pt idx="164">
                  <c:v>79</c:v>
                </c:pt>
                <c:pt idx="165">
                  <c:v>181</c:v>
                </c:pt>
                <c:pt idx="166">
                  <c:v>238</c:v>
                </c:pt>
                <c:pt idx="167">
                  <c:v>129</c:v>
                </c:pt>
                <c:pt idx="168">
                  <c:v>198</c:v>
                </c:pt>
                <c:pt idx="169">
                  <c:v>177</c:v>
                </c:pt>
                <c:pt idx="170">
                  <c:v>98</c:v>
                </c:pt>
                <c:pt idx="171">
                  <c:v>74</c:v>
                </c:pt>
                <c:pt idx="172">
                  <c:v>188</c:v>
                </c:pt>
                <c:pt idx="173">
                  <c:v>149</c:v>
                </c:pt>
                <c:pt idx="174">
                  <c:v>154</c:v>
                </c:pt>
                <c:pt idx="175">
                  <c:v>133</c:v>
                </c:pt>
                <c:pt idx="176">
                  <c:v>126</c:v>
                </c:pt>
                <c:pt idx="177">
                  <c:v>79</c:v>
                </c:pt>
                <c:pt idx="178">
                  <c:v>59</c:v>
                </c:pt>
                <c:pt idx="179">
                  <c:v>151</c:v>
                </c:pt>
                <c:pt idx="180">
                  <c:v>133</c:v>
                </c:pt>
                <c:pt idx="181">
                  <c:v>104</c:v>
                </c:pt>
                <c:pt idx="182">
                  <c:v>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2316910785623E-3"/>
                  <c:y val="2.331370103282886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6.21</c:v>
                </c:pt>
                <c:pt idx="1">
                  <c:v>11.06.21</c:v>
                </c:pt>
                <c:pt idx="2">
                  <c:v>12.06.21</c:v>
                </c:pt>
                <c:pt idx="3">
                  <c:v>13.06.21</c:v>
                </c:pt>
                <c:pt idx="4">
                  <c:v>14.06.21</c:v>
                </c:pt>
                <c:pt idx="5">
                  <c:v>15.06.21</c:v>
                </c:pt>
                <c:pt idx="6">
                  <c:v>16.06.21</c:v>
                </c:pt>
                <c:pt idx="7">
                  <c:v>17.06.21</c:v>
                </c:pt>
                <c:pt idx="8">
                  <c:v>18.06.21</c:v>
                </c:pt>
                <c:pt idx="9">
                  <c:v>19.06.21</c:v>
                </c:pt>
                <c:pt idx="10">
                  <c:v>20.06.21</c:v>
                </c:pt>
                <c:pt idx="11">
                  <c:v>21.06.21</c:v>
                </c:pt>
                <c:pt idx="12">
                  <c:v>22.06.21</c:v>
                </c:pt>
                <c:pt idx="13">
                  <c:v>23.06.21</c:v>
                </c:pt>
                <c:pt idx="14">
                  <c:v>24.06.21</c:v>
                </c:pt>
                <c:pt idx="15">
                  <c:v>25.06.21</c:v>
                </c:pt>
                <c:pt idx="16">
                  <c:v>26.06.21</c:v>
                </c:pt>
                <c:pt idx="17">
                  <c:v>27.06.21</c:v>
                </c:pt>
                <c:pt idx="18">
                  <c:v>28.06.21</c:v>
                </c:pt>
                <c:pt idx="19">
                  <c:v>29.06.21</c:v>
                </c:pt>
                <c:pt idx="20">
                  <c:v>30.06.21</c:v>
                </c:pt>
                <c:pt idx="21">
                  <c:v>01.07.21</c:v>
                </c:pt>
                <c:pt idx="22">
                  <c:v>02.07.21</c:v>
                </c:pt>
                <c:pt idx="23">
                  <c:v>03.07.21</c:v>
                </c:pt>
                <c:pt idx="24">
                  <c:v>04.07.21</c:v>
                </c:pt>
                <c:pt idx="25">
                  <c:v>05.07.21</c:v>
                </c:pt>
                <c:pt idx="26">
                  <c:v>06.07.21</c:v>
                </c:pt>
                <c:pt idx="27">
                  <c:v>07.07.21</c:v>
                </c:pt>
                <c:pt idx="28">
                  <c:v>08.07.21</c:v>
                </c:pt>
                <c:pt idx="29">
                  <c:v>09.07.21</c:v>
                </c:pt>
                <c:pt idx="30">
                  <c:v>10.07.21</c:v>
                </c:pt>
                <c:pt idx="31">
                  <c:v>11.07.21</c:v>
                </c:pt>
                <c:pt idx="32">
                  <c:v>12.07.21</c:v>
                </c:pt>
                <c:pt idx="33">
                  <c:v>13.07.21</c:v>
                </c:pt>
                <c:pt idx="34">
                  <c:v>14.07.21</c:v>
                </c:pt>
                <c:pt idx="35">
                  <c:v>15.07.21</c:v>
                </c:pt>
                <c:pt idx="36">
                  <c:v>16.07.21</c:v>
                </c:pt>
                <c:pt idx="37">
                  <c:v>17.07.21</c:v>
                </c:pt>
                <c:pt idx="38">
                  <c:v>18.07.21</c:v>
                </c:pt>
                <c:pt idx="39">
                  <c:v>19.07.21</c:v>
                </c:pt>
                <c:pt idx="40">
                  <c:v>20.07.21</c:v>
                </c:pt>
                <c:pt idx="41">
                  <c:v>21.07.21</c:v>
                </c:pt>
                <c:pt idx="42">
                  <c:v>22.07.21</c:v>
                </c:pt>
                <c:pt idx="43">
                  <c:v>23.07.21</c:v>
                </c:pt>
                <c:pt idx="44">
                  <c:v>24.07.21</c:v>
                </c:pt>
                <c:pt idx="45">
                  <c:v>25.07.21</c:v>
                </c:pt>
                <c:pt idx="46">
                  <c:v>26.07.21</c:v>
                </c:pt>
                <c:pt idx="47">
                  <c:v>27.07.21</c:v>
                </c:pt>
                <c:pt idx="48">
                  <c:v>28.07.21</c:v>
                </c:pt>
                <c:pt idx="49">
                  <c:v>29.07.21</c:v>
                </c:pt>
                <c:pt idx="50">
                  <c:v>30.07.21</c:v>
                </c:pt>
                <c:pt idx="51">
                  <c:v>31.07.21</c:v>
                </c:pt>
                <c:pt idx="52">
                  <c:v>01.08.21</c:v>
                </c:pt>
                <c:pt idx="53">
                  <c:v>02.08.21</c:v>
                </c:pt>
                <c:pt idx="54">
                  <c:v>03.08.21</c:v>
                </c:pt>
                <c:pt idx="55">
                  <c:v>04.08.21</c:v>
                </c:pt>
                <c:pt idx="56">
                  <c:v>05.08.21</c:v>
                </c:pt>
                <c:pt idx="57">
                  <c:v>06.08.21</c:v>
                </c:pt>
                <c:pt idx="58">
                  <c:v>07.08.21</c:v>
                </c:pt>
                <c:pt idx="59">
                  <c:v>08.08.21</c:v>
                </c:pt>
                <c:pt idx="60">
                  <c:v>09.08.21</c:v>
                </c:pt>
                <c:pt idx="61">
                  <c:v>10.08.21</c:v>
                </c:pt>
                <c:pt idx="62">
                  <c:v>11.08.21</c:v>
                </c:pt>
                <c:pt idx="63">
                  <c:v>12.08.21</c:v>
                </c:pt>
                <c:pt idx="64">
                  <c:v>13.08.21</c:v>
                </c:pt>
                <c:pt idx="65">
                  <c:v>14.08.21</c:v>
                </c:pt>
                <c:pt idx="66">
                  <c:v>15.08.21</c:v>
                </c:pt>
                <c:pt idx="67">
                  <c:v>16.08.21</c:v>
                </c:pt>
                <c:pt idx="68">
                  <c:v>17.08.21</c:v>
                </c:pt>
                <c:pt idx="69">
                  <c:v>18.08.21</c:v>
                </c:pt>
                <c:pt idx="70">
                  <c:v>19.08.21</c:v>
                </c:pt>
                <c:pt idx="71">
                  <c:v>20.08.21</c:v>
                </c:pt>
                <c:pt idx="72">
                  <c:v>21.08.21</c:v>
                </c:pt>
                <c:pt idx="73">
                  <c:v>22.08.21</c:v>
                </c:pt>
                <c:pt idx="74">
                  <c:v>23.08.21</c:v>
                </c:pt>
                <c:pt idx="75">
                  <c:v>24.08.21</c:v>
                </c:pt>
                <c:pt idx="76">
                  <c:v>25.08.21</c:v>
                </c:pt>
                <c:pt idx="77">
                  <c:v>26.08.21</c:v>
                </c:pt>
                <c:pt idx="78">
                  <c:v>27.08.21</c:v>
                </c:pt>
                <c:pt idx="79">
                  <c:v>28.08.21</c:v>
                </c:pt>
                <c:pt idx="80">
                  <c:v>29.08.21</c:v>
                </c:pt>
                <c:pt idx="81">
                  <c:v>30.08.21</c:v>
                </c:pt>
                <c:pt idx="82">
                  <c:v>31.08.21</c:v>
                </c:pt>
                <c:pt idx="83">
                  <c:v>01.09.21</c:v>
                </c:pt>
                <c:pt idx="84">
                  <c:v>02.09.21</c:v>
                </c:pt>
                <c:pt idx="85">
                  <c:v>03.09.21</c:v>
                </c:pt>
                <c:pt idx="86">
                  <c:v>04.09.21</c:v>
                </c:pt>
                <c:pt idx="87">
                  <c:v>05.09.21</c:v>
                </c:pt>
                <c:pt idx="88">
                  <c:v>06.09.21</c:v>
                </c:pt>
                <c:pt idx="89">
                  <c:v>07.09.21</c:v>
                </c:pt>
                <c:pt idx="90">
                  <c:v>08.09.21</c:v>
                </c:pt>
                <c:pt idx="91">
                  <c:v>09.09.21</c:v>
                </c:pt>
                <c:pt idx="92">
                  <c:v>10.09.21</c:v>
                </c:pt>
                <c:pt idx="93">
                  <c:v>11.09.21</c:v>
                </c:pt>
                <c:pt idx="94">
                  <c:v>12.09.21</c:v>
                </c:pt>
                <c:pt idx="95">
                  <c:v>13.09.21</c:v>
                </c:pt>
                <c:pt idx="96">
                  <c:v>14.09.21</c:v>
                </c:pt>
                <c:pt idx="97">
                  <c:v>15.09.21</c:v>
                </c:pt>
                <c:pt idx="98">
                  <c:v>16.09.21</c:v>
                </c:pt>
                <c:pt idx="99">
                  <c:v>17.09.21</c:v>
                </c:pt>
                <c:pt idx="100">
                  <c:v>18.09.21</c:v>
                </c:pt>
                <c:pt idx="101">
                  <c:v>19.09.21</c:v>
                </c:pt>
                <c:pt idx="102">
                  <c:v>20.09.21</c:v>
                </c:pt>
                <c:pt idx="103">
                  <c:v>21.09.21</c:v>
                </c:pt>
                <c:pt idx="104">
                  <c:v>22.09.21</c:v>
                </c:pt>
                <c:pt idx="105">
                  <c:v>23.09.21</c:v>
                </c:pt>
                <c:pt idx="106">
                  <c:v>24.09.21</c:v>
                </c:pt>
                <c:pt idx="107">
                  <c:v>25.09.21</c:v>
                </c:pt>
                <c:pt idx="108">
                  <c:v>26.09.21</c:v>
                </c:pt>
                <c:pt idx="109">
                  <c:v>27.09.21</c:v>
                </c:pt>
                <c:pt idx="110">
                  <c:v>28.09.21</c:v>
                </c:pt>
                <c:pt idx="111">
                  <c:v>29.09.21</c:v>
                </c:pt>
                <c:pt idx="112">
                  <c:v>30.09.21</c:v>
                </c:pt>
                <c:pt idx="113">
                  <c:v>01.10.21</c:v>
                </c:pt>
                <c:pt idx="114">
                  <c:v>02.10.21</c:v>
                </c:pt>
                <c:pt idx="115">
                  <c:v>03.10.21</c:v>
                </c:pt>
                <c:pt idx="116">
                  <c:v>04.10.21</c:v>
                </c:pt>
                <c:pt idx="117">
                  <c:v>05.10.21</c:v>
                </c:pt>
                <c:pt idx="118">
                  <c:v>06.10.21</c:v>
                </c:pt>
                <c:pt idx="119">
                  <c:v>07.10.21</c:v>
                </c:pt>
                <c:pt idx="120">
                  <c:v>08.10.21</c:v>
                </c:pt>
                <c:pt idx="121">
                  <c:v>09.10.21</c:v>
                </c:pt>
                <c:pt idx="122">
                  <c:v>10.10.21</c:v>
                </c:pt>
                <c:pt idx="123">
                  <c:v>11.10.21</c:v>
                </c:pt>
                <c:pt idx="124">
                  <c:v>12.10.21</c:v>
                </c:pt>
                <c:pt idx="125">
                  <c:v>13.10.21</c:v>
                </c:pt>
                <c:pt idx="126">
                  <c:v>14.10.21</c:v>
                </c:pt>
                <c:pt idx="127">
                  <c:v>15.10.21</c:v>
                </c:pt>
                <c:pt idx="128">
                  <c:v>16.10.21</c:v>
                </c:pt>
                <c:pt idx="129">
                  <c:v>17.10.21</c:v>
                </c:pt>
                <c:pt idx="130">
                  <c:v>18.10.21</c:v>
                </c:pt>
                <c:pt idx="131">
                  <c:v>19.10.21</c:v>
                </c:pt>
                <c:pt idx="132">
                  <c:v>20.10.21</c:v>
                </c:pt>
                <c:pt idx="133">
                  <c:v>21.10.21</c:v>
                </c:pt>
                <c:pt idx="134">
                  <c:v>22.10.21</c:v>
                </c:pt>
                <c:pt idx="135">
                  <c:v>23.10.21</c:v>
                </c:pt>
                <c:pt idx="136">
                  <c:v>24.10.21</c:v>
                </c:pt>
                <c:pt idx="137">
                  <c:v>25.10.21</c:v>
                </c:pt>
                <c:pt idx="138">
                  <c:v>26.10.21</c:v>
                </c:pt>
                <c:pt idx="139">
                  <c:v>27.10.21</c:v>
                </c:pt>
                <c:pt idx="140">
                  <c:v>28.10.21</c:v>
                </c:pt>
                <c:pt idx="141">
                  <c:v>29.10.21</c:v>
                </c:pt>
                <c:pt idx="142">
                  <c:v>30.10.21</c:v>
                </c:pt>
                <c:pt idx="143">
                  <c:v>31.10.21</c:v>
                </c:pt>
                <c:pt idx="144">
                  <c:v>01.11.21</c:v>
                </c:pt>
                <c:pt idx="145">
                  <c:v>02.11.21</c:v>
                </c:pt>
                <c:pt idx="146">
                  <c:v>03.11.21</c:v>
                </c:pt>
                <c:pt idx="147">
                  <c:v>04.11.21</c:v>
                </c:pt>
                <c:pt idx="148">
                  <c:v>05.11.21</c:v>
                </c:pt>
                <c:pt idx="149">
                  <c:v>06.11.21</c:v>
                </c:pt>
                <c:pt idx="150">
                  <c:v>07.11.21</c:v>
                </c:pt>
                <c:pt idx="151">
                  <c:v>08.11.21</c:v>
                </c:pt>
                <c:pt idx="152">
                  <c:v>09.11.21</c:v>
                </c:pt>
                <c:pt idx="153">
                  <c:v>10.11.21</c:v>
                </c:pt>
                <c:pt idx="154">
                  <c:v>11.11.21</c:v>
                </c:pt>
                <c:pt idx="155">
                  <c:v>12.11.21</c:v>
                </c:pt>
                <c:pt idx="156">
                  <c:v>13.11.21</c:v>
                </c:pt>
                <c:pt idx="157">
                  <c:v>14.11.21</c:v>
                </c:pt>
                <c:pt idx="158">
                  <c:v>15.11.21</c:v>
                </c:pt>
                <c:pt idx="159">
                  <c:v>16.11.21</c:v>
                </c:pt>
                <c:pt idx="160">
                  <c:v>17.11.21</c:v>
                </c:pt>
                <c:pt idx="161">
                  <c:v>18.11.21</c:v>
                </c:pt>
                <c:pt idx="162">
                  <c:v>19.11.21</c:v>
                </c:pt>
                <c:pt idx="163">
                  <c:v>20.11.21</c:v>
                </c:pt>
                <c:pt idx="164">
                  <c:v>21.11.21</c:v>
                </c:pt>
                <c:pt idx="165">
                  <c:v>22.11.21</c:v>
                </c:pt>
                <c:pt idx="166">
                  <c:v>23.11.21</c:v>
                </c:pt>
                <c:pt idx="167">
                  <c:v>24.11.21</c:v>
                </c:pt>
                <c:pt idx="168">
                  <c:v>25.11.21</c:v>
                </c:pt>
                <c:pt idx="169">
                  <c:v>26.11.21</c:v>
                </c:pt>
                <c:pt idx="170">
                  <c:v>27.11.21</c:v>
                </c:pt>
                <c:pt idx="171">
                  <c:v>28.11.21</c:v>
                </c:pt>
                <c:pt idx="172">
                  <c:v>29.11.21</c:v>
                </c:pt>
                <c:pt idx="173">
                  <c:v>30.11.21</c:v>
                </c:pt>
                <c:pt idx="174">
                  <c:v>01.12.21</c:v>
                </c:pt>
                <c:pt idx="175">
                  <c:v>02.12.21</c:v>
                </c:pt>
                <c:pt idx="176">
                  <c:v>03.12.21</c:v>
                </c:pt>
                <c:pt idx="177">
                  <c:v>04.12.21</c:v>
                </c:pt>
                <c:pt idx="178">
                  <c:v>05.12.21</c:v>
                </c:pt>
                <c:pt idx="179">
                  <c:v>06.12.21</c:v>
                </c:pt>
                <c:pt idx="180">
                  <c:v>07.12.21</c:v>
                </c:pt>
                <c:pt idx="181">
                  <c:v>08.12.21</c:v>
                </c:pt>
                <c:pt idx="182">
                  <c:v>09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4</c:v>
                </c:pt>
                <c:pt idx="30">
                  <c:v>0</c:v>
                </c:pt>
                <c:pt idx="31">
                  <c:v>0</c:v>
                </c:pt>
                <c:pt idx="32">
                  <c:v>3</c:v>
                </c:pt>
                <c:pt idx="33">
                  <c:v>0</c:v>
                </c:pt>
                <c:pt idx="34">
                  <c:v>4</c:v>
                </c:pt>
                <c:pt idx="35">
                  <c:v>2</c:v>
                </c:pt>
                <c:pt idx="36">
                  <c:v>5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5</c:v>
                </c:pt>
                <c:pt idx="41">
                  <c:v>1</c:v>
                </c:pt>
                <c:pt idx="42">
                  <c:v>3</c:v>
                </c:pt>
                <c:pt idx="43">
                  <c:v>2</c:v>
                </c:pt>
                <c:pt idx="44">
                  <c:v>0</c:v>
                </c:pt>
                <c:pt idx="45">
                  <c:v>1</c:v>
                </c:pt>
                <c:pt idx="46">
                  <c:v>3</c:v>
                </c:pt>
                <c:pt idx="47">
                  <c:v>4</c:v>
                </c:pt>
                <c:pt idx="48">
                  <c:v>1</c:v>
                </c:pt>
                <c:pt idx="49">
                  <c:v>3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3</c:v>
                </c:pt>
                <c:pt idx="56">
                  <c:v>1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7</c:v>
                </c:pt>
                <c:pt idx="61">
                  <c:v>1</c:v>
                </c:pt>
                <c:pt idx="62">
                  <c:v>1</c:v>
                </c:pt>
                <c:pt idx="63">
                  <c:v>2</c:v>
                </c:pt>
                <c:pt idx="64">
                  <c:v>5</c:v>
                </c:pt>
                <c:pt idx="65">
                  <c:v>2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0</c:v>
                </c:pt>
                <c:pt idx="71">
                  <c:v>3</c:v>
                </c:pt>
                <c:pt idx="72">
                  <c:v>2</c:v>
                </c:pt>
                <c:pt idx="73">
                  <c:v>2</c:v>
                </c:pt>
                <c:pt idx="74">
                  <c:v>1</c:v>
                </c:pt>
                <c:pt idx="75">
                  <c:v>3</c:v>
                </c:pt>
                <c:pt idx="76">
                  <c:v>5</c:v>
                </c:pt>
                <c:pt idx="77">
                  <c:v>2</c:v>
                </c:pt>
                <c:pt idx="78">
                  <c:v>2</c:v>
                </c:pt>
                <c:pt idx="79">
                  <c:v>0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2</c:v>
                </c:pt>
                <c:pt idx="84">
                  <c:v>4</c:v>
                </c:pt>
                <c:pt idx="85">
                  <c:v>6</c:v>
                </c:pt>
                <c:pt idx="86">
                  <c:v>5</c:v>
                </c:pt>
                <c:pt idx="87">
                  <c:v>1</c:v>
                </c:pt>
                <c:pt idx="88">
                  <c:v>5</c:v>
                </c:pt>
                <c:pt idx="89">
                  <c:v>4</c:v>
                </c:pt>
                <c:pt idx="90">
                  <c:v>1</c:v>
                </c:pt>
                <c:pt idx="91">
                  <c:v>3</c:v>
                </c:pt>
                <c:pt idx="92">
                  <c:v>2</c:v>
                </c:pt>
                <c:pt idx="93">
                  <c:v>0</c:v>
                </c:pt>
                <c:pt idx="94">
                  <c:v>3</c:v>
                </c:pt>
                <c:pt idx="95">
                  <c:v>2</c:v>
                </c:pt>
                <c:pt idx="96">
                  <c:v>3</c:v>
                </c:pt>
                <c:pt idx="97">
                  <c:v>5</c:v>
                </c:pt>
                <c:pt idx="98">
                  <c:v>7</c:v>
                </c:pt>
                <c:pt idx="99">
                  <c:v>4</c:v>
                </c:pt>
                <c:pt idx="100">
                  <c:v>2</c:v>
                </c:pt>
                <c:pt idx="101">
                  <c:v>5</c:v>
                </c:pt>
                <c:pt idx="102">
                  <c:v>8</c:v>
                </c:pt>
                <c:pt idx="103">
                  <c:v>9</c:v>
                </c:pt>
                <c:pt idx="104">
                  <c:v>8</c:v>
                </c:pt>
                <c:pt idx="105">
                  <c:v>5</c:v>
                </c:pt>
                <c:pt idx="106">
                  <c:v>4</c:v>
                </c:pt>
                <c:pt idx="107">
                  <c:v>4</c:v>
                </c:pt>
                <c:pt idx="108">
                  <c:v>2</c:v>
                </c:pt>
                <c:pt idx="109">
                  <c:v>7</c:v>
                </c:pt>
                <c:pt idx="110">
                  <c:v>6</c:v>
                </c:pt>
                <c:pt idx="111">
                  <c:v>8</c:v>
                </c:pt>
                <c:pt idx="112">
                  <c:v>12</c:v>
                </c:pt>
                <c:pt idx="113">
                  <c:v>8</c:v>
                </c:pt>
                <c:pt idx="114">
                  <c:v>4</c:v>
                </c:pt>
                <c:pt idx="115">
                  <c:v>7</c:v>
                </c:pt>
                <c:pt idx="116">
                  <c:v>8</c:v>
                </c:pt>
                <c:pt idx="117">
                  <c:v>12</c:v>
                </c:pt>
                <c:pt idx="118">
                  <c:v>13</c:v>
                </c:pt>
                <c:pt idx="119">
                  <c:v>15</c:v>
                </c:pt>
                <c:pt idx="120">
                  <c:v>8</c:v>
                </c:pt>
                <c:pt idx="121">
                  <c:v>7</c:v>
                </c:pt>
                <c:pt idx="122">
                  <c:v>5</c:v>
                </c:pt>
                <c:pt idx="123">
                  <c:v>19</c:v>
                </c:pt>
                <c:pt idx="124">
                  <c:v>31</c:v>
                </c:pt>
                <c:pt idx="125">
                  <c:v>18</c:v>
                </c:pt>
                <c:pt idx="126">
                  <c:v>16</c:v>
                </c:pt>
                <c:pt idx="127">
                  <c:v>14</c:v>
                </c:pt>
                <c:pt idx="128">
                  <c:v>9</c:v>
                </c:pt>
                <c:pt idx="129">
                  <c:v>13</c:v>
                </c:pt>
                <c:pt idx="130">
                  <c:v>38</c:v>
                </c:pt>
                <c:pt idx="131">
                  <c:v>53</c:v>
                </c:pt>
                <c:pt idx="132">
                  <c:v>48</c:v>
                </c:pt>
                <c:pt idx="133">
                  <c:v>53</c:v>
                </c:pt>
                <c:pt idx="134">
                  <c:v>42</c:v>
                </c:pt>
                <c:pt idx="135">
                  <c:v>27</c:v>
                </c:pt>
                <c:pt idx="136">
                  <c:v>19</c:v>
                </c:pt>
                <c:pt idx="137">
                  <c:v>75</c:v>
                </c:pt>
                <c:pt idx="138">
                  <c:v>80</c:v>
                </c:pt>
                <c:pt idx="139">
                  <c:v>63</c:v>
                </c:pt>
                <c:pt idx="140">
                  <c:v>38</c:v>
                </c:pt>
                <c:pt idx="141">
                  <c:v>78</c:v>
                </c:pt>
                <c:pt idx="142">
                  <c:v>50</c:v>
                </c:pt>
                <c:pt idx="143">
                  <c:v>40</c:v>
                </c:pt>
                <c:pt idx="144">
                  <c:v>129</c:v>
                </c:pt>
                <c:pt idx="145">
                  <c:v>129</c:v>
                </c:pt>
                <c:pt idx="146">
                  <c:v>100</c:v>
                </c:pt>
                <c:pt idx="147">
                  <c:v>106</c:v>
                </c:pt>
                <c:pt idx="148">
                  <c:v>126</c:v>
                </c:pt>
                <c:pt idx="149">
                  <c:v>53</c:v>
                </c:pt>
                <c:pt idx="150">
                  <c:v>37</c:v>
                </c:pt>
                <c:pt idx="151">
                  <c:v>127</c:v>
                </c:pt>
                <c:pt idx="152">
                  <c:v>138</c:v>
                </c:pt>
                <c:pt idx="153">
                  <c:v>139</c:v>
                </c:pt>
                <c:pt idx="154">
                  <c:v>113</c:v>
                </c:pt>
                <c:pt idx="155">
                  <c:v>158</c:v>
                </c:pt>
                <c:pt idx="156">
                  <c:v>93</c:v>
                </c:pt>
                <c:pt idx="157">
                  <c:v>49</c:v>
                </c:pt>
                <c:pt idx="158">
                  <c:v>156</c:v>
                </c:pt>
                <c:pt idx="159">
                  <c:v>190</c:v>
                </c:pt>
                <c:pt idx="160">
                  <c:v>136</c:v>
                </c:pt>
                <c:pt idx="161">
                  <c:v>156</c:v>
                </c:pt>
                <c:pt idx="162">
                  <c:v>235</c:v>
                </c:pt>
                <c:pt idx="163">
                  <c:v>118</c:v>
                </c:pt>
                <c:pt idx="164">
                  <c:v>88</c:v>
                </c:pt>
                <c:pt idx="165">
                  <c:v>195</c:v>
                </c:pt>
                <c:pt idx="166">
                  <c:v>202</c:v>
                </c:pt>
                <c:pt idx="167">
                  <c:v>168</c:v>
                </c:pt>
                <c:pt idx="168">
                  <c:v>243</c:v>
                </c:pt>
                <c:pt idx="169">
                  <c:v>139</c:v>
                </c:pt>
                <c:pt idx="170">
                  <c:v>108</c:v>
                </c:pt>
                <c:pt idx="171">
                  <c:v>81</c:v>
                </c:pt>
                <c:pt idx="172">
                  <c:v>199</c:v>
                </c:pt>
                <c:pt idx="173">
                  <c:v>177</c:v>
                </c:pt>
                <c:pt idx="174">
                  <c:v>156</c:v>
                </c:pt>
                <c:pt idx="175">
                  <c:v>123</c:v>
                </c:pt>
                <c:pt idx="176">
                  <c:v>150</c:v>
                </c:pt>
                <c:pt idx="177">
                  <c:v>93</c:v>
                </c:pt>
                <c:pt idx="178">
                  <c:v>63</c:v>
                </c:pt>
                <c:pt idx="179">
                  <c:v>184</c:v>
                </c:pt>
                <c:pt idx="180">
                  <c:v>134</c:v>
                </c:pt>
                <c:pt idx="181">
                  <c:v>107</c:v>
                </c:pt>
                <c:pt idx="182">
                  <c:v>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06</c:f>
              <c:numCache>
                <c:formatCode>m/d/yyyy</c:formatCode>
                <c:ptCount val="172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</c:numCache>
            </c:numRef>
          </c:cat>
          <c:val>
            <c:numRef>
              <c:f>Sheet1!$B$135:$B$306</c:f>
              <c:numCache>
                <c:formatCode>General</c:formatCode>
                <c:ptCount val="172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4</c:v>
                </c:pt>
                <c:pt idx="124">
                  <c:v>12</c:v>
                </c:pt>
                <c:pt idx="125">
                  <c:v>29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8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49</c:v>
                </c:pt>
                <c:pt idx="143">
                  <c:v>44</c:v>
                </c:pt>
                <c:pt idx="144">
                  <c:v>50</c:v>
                </c:pt>
                <c:pt idx="145">
                  <c:v>23</c:v>
                </c:pt>
                <c:pt idx="146">
                  <c:v>64</c:v>
                </c:pt>
                <c:pt idx="147">
                  <c:v>62</c:v>
                </c:pt>
                <c:pt idx="148">
                  <c:v>44</c:v>
                </c:pt>
                <c:pt idx="149">
                  <c:v>56</c:v>
                </c:pt>
                <c:pt idx="150">
                  <c:v>84</c:v>
                </c:pt>
                <c:pt idx="151">
                  <c:v>48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0</c:v>
                </c:pt>
                <c:pt idx="157">
                  <c:v>56</c:v>
                </c:pt>
                <c:pt idx="158">
                  <c:v>33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5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4</c:v>
                </c:pt>
                <c:pt idx="169">
                  <c:v>30</c:v>
                </c:pt>
                <c:pt idx="170">
                  <c:v>33</c:v>
                </c:pt>
                <c:pt idx="17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2:$AC$2</c:f>
              <c:numCache>
                <c:formatCode>General</c:formatCode>
                <c:ptCount val="15"/>
                <c:pt idx="0">
                  <c:v>9.0385521999999998</c:v>
                </c:pt>
                <c:pt idx="1">
                  <c:v>21.700104499999998</c:v>
                </c:pt>
                <c:pt idx="2">
                  <c:v>38.513545800000003</c:v>
                </c:pt>
                <c:pt idx="3">
                  <c:v>51.317859400000003</c:v>
                </c:pt>
                <c:pt idx="4">
                  <c:v>62.379367199999997</c:v>
                </c:pt>
                <c:pt idx="5">
                  <c:v>118.68524669999999</c:v>
                </c:pt>
                <c:pt idx="6">
                  <c:v>212.05002139999999</c:v>
                </c:pt>
                <c:pt idx="7">
                  <c:v>301.62548809999998</c:v>
                </c:pt>
                <c:pt idx="8">
                  <c:v>282.69909389999998</c:v>
                </c:pt>
                <c:pt idx="9">
                  <c:v>197.88752969999999</c:v>
                </c:pt>
                <c:pt idx="10">
                  <c:v>119.0807411</c:v>
                </c:pt>
                <c:pt idx="11">
                  <c:v>94.008227099999999</c:v>
                </c:pt>
                <c:pt idx="12">
                  <c:v>87.025426400000001</c:v>
                </c:pt>
                <c:pt idx="13">
                  <c:v>91.998365699999994</c:v>
                </c:pt>
                <c:pt idx="14">
                  <c:v>123.929165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C$1</c:f>
              <c:strCache>
                <c:ptCount val="15"/>
                <c:pt idx="0">
                  <c:v>28.08 - 03.09</c:v>
                </c:pt>
                <c:pt idx="1">
                  <c:v>04.09 - 10.09</c:v>
                </c:pt>
                <c:pt idx="2">
                  <c:v>11.09 - 17.09</c:v>
                </c:pt>
                <c:pt idx="3">
                  <c:v>18.09 - 24.09</c:v>
                </c:pt>
                <c:pt idx="4">
                  <c:v>25.09 - 01.10</c:v>
                </c:pt>
                <c:pt idx="5">
                  <c:v>02.10 - 08.10</c:v>
                </c:pt>
                <c:pt idx="6">
                  <c:v>09.10 - 15.10</c:v>
                </c:pt>
                <c:pt idx="7">
                  <c:v>16.10 - 22.10</c:v>
                </c:pt>
                <c:pt idx="8">
                  <c:v>23.10 - 29.10</c:v>
                </c:pt>
                <c:pt idx="9">
                  <c:v>30.10 - 05.11</c:v>
                </c:pt>
                <c:pt idx="10">
                  <c:v>06.11 - 12.11</c:v>
                </c:pt>
                <c:pt idx="11">
                  <c:v>13.11 - 19.11</c:v>
                </c:pt>
                <c:pt idx="12">
                  <c:v>20.11 - 26.11</c:v>
                </c:pt>
                <c:pt idx="13">
                  <c:v>27.11 - 03.12</c:v>
                </c:pt>
                <c:pt idx="14">
                  <c:v>04.12 - 10.12</c:v>
                </c:pt>
              </c:strCache>
            </c:strRef>
          </c:cat>
          <c:val>
            <c:numRef>
              <c:f>List1!$O$3:$AC$3</c:f>
              <c:numCache>
                <c:formatCode>General</c:formatCode>
                <c:ptCount val="15"/>
                <c:pt idx="0">
                  <c:v>3.0577724000000002</c:v>
                </c:pt>
                <c:pt idx="1">
                  <c:v>2.4968718999999999</c:v>
                </c:pt>
                <c:pt idx="2">
                  <c:v>3.3219371999999998</c:v>
                </c:pt>
                <c:pt idx="3">
                  <c:v>3.5909716999999999</c:v>
                </c:pt>
                <c:pt idx="4">
                  <c:v>7.1664038000000003</c:v>
                </c:pt>
                <c:pt idx="5">
                  <c:v>6.8839800999999996</c:v>
                </c:pt>
                <c:pt idx="6">
                  <c:v>9.6368556999999999</c:v>
                </c:pt>
                <c:pt idx="7">
                  <c:v>24.228074199999998</c:v>
                </c:pt>
                <c:pt idx="8">
                  <c:v>42.395978399999997</c:v>
                </c:pt>
                <c:pt idx="9">
                  <c:v>64.973143500000006</c:v>
                </c:pt>
                <c:pt idx="10">
                  <c:v>75.457772500000004</c:v>
                </c:pt>
                <c:pt idx="11">
                  <c:v>100.27410089999999</c:v>
                </c:pt>
                <c:pt idx="12">
                  <c:v>100.3050485</c:v>
                </c:pt>
                <c:pt idx="13">
                  <c:v>87.661263599999998</c:v>
                </c:pt>
                <c:pt idx="14">
                  <c:v>58.200474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8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0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2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4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chart" Target="../charts/chart1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microsoft.com/office/2007/relationships/hdphoto" Target="../media/hdphoto1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5.xml"/><Relationship Id="rId7" Type="http://schemas.openxmlformats.org/officeDocument/2006/relationships/chart" Target="../charts/chart16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microsoft.com/office/2007/relationships/hdphoto" Target="../media/hdphoto1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2.xml"/><Relationship Id="rId7" Type="http://schemas.openxmlformats.org/officeDocument/2006/relationships/chart" Target="../charts/chart17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microsoft.com/office/2007/relationships/hdphoto" Target="../media/hdphoto1.wdp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9.xml"/><Relationship Id="rId7" Type="http://schemas.openxmlformats.org/officeDocument/2006/relationships/chart" Target="../charts/chart1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microsoft.com/office/2007/relationships/hdphoto" Target="../media/hdphoto1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3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188508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953837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032235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966974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3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9. 12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0 %. I zde ale došlo k pozitivnímu posunu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a stále patří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1643013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2 / 2021 k 9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9. 12. 2021</a:t>
            </a:r>
          </a:p>
        </p:txBody>
      </p:sp>
    </p:spTree>
    <p:extLst>
      <p:ext uri="{BB962C8B-B14F-4D97-AF65-F5344CB8AC3E}">
        <p14:creationId xmlns:p14="http://schemas.microsoft.com/office/powerpoint/2010/main" val="706846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043002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2 / 2021 k 9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9. 12. 2021</a:t>
            </a:r>
          </a:p>
        </p:txBody>
      </p:sp>
    </p:spTree>
    <p:extLst>
      <p:ext uri="{BB962C8B-B14F-4D97-AF65-F5344CB8AC3E}">
        <p14:creationId xmlns:p14="http://schemas.microsoft.com/office/powerpoint/2010/main" val="12774089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2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972423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687A327-E8F4-4219-8F53-686250FF2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718969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04881918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6404354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03477775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60461766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52499894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78388208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84296328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02336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35358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23110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75636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64307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60027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B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06323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06265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24839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69796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67351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864580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62154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5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78948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22007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2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444291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5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7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7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 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 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5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6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20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9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 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 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 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 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1 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0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71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823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91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72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0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28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F409DC4-4371-47D5-948F-7F3C62AE8E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305178"/>
              </p:ext>
            </p:extLst>
          </p:nvPr>
        </p:nvGraphicFramePr>
        <p:xfrm>
          <a:off x="2419350" y="1343819"/>
          <a:ext cx="9600585" cy="4477928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3493490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2996653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004990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318244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68919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2638310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152533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57596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587802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179342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079676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813185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590633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179466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87689406"/>
                    </a:ext>
                  </a:extLst>
                </a:gridCol>
              </a:tblGrid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56563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853768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02931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636693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458529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243366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451082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911734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496087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753545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334249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616936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1012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2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5590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32C3C4FA-1DAB-4712-90B7-1D89C5A4A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420460"/>
              </p:ext>
            </p:extLst>
          </p:nvPr>
        </p:nvGraphicFramePr>
        <p:xfrm>
          <a:off x="2419350" y="1344962"/>
          <a:ext cx="9600585" cy="44844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2077102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872233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7456830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182968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57331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899241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00430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440580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1820399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147460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462468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8723551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3764177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7427782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6112096"/>
                    </a:ext>
                  </a:extLst>
                </a:gridCol>
              </a:tblGrid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638321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2962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61145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04122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31449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66618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46147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232883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309390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495283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05638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68240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0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4577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25152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7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9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51B3094-53FB-4D9B-8BC7-4070E1DCEF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119211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49854220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05268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3726988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794343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3507240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4809728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3386135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378408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296748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2547596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352271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0936106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747798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356860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3930265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32101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316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93896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58459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35356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685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10715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2671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581890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4664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64742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93562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33555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05603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4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0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8 (10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6 (8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(2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37479316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1.–12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1.–19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1.–26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11.–3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7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1.–12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1.–19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1.–26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11.–3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1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1.–12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1.–19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1.–26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11.–3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1.–12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1.–19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1.–26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11.–3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2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7C869D1-AAFD-45C9-8624-86F0C78D0506}"/>
              </a:ext>
            </a:extLst>
          </p:cNvPr>
          <p:cNvGraphicFramePr>
            <a:graphicFrameLocks noGrp="1"/>
          </p:cNvGraphicFramePr>
          <p:nvPr/>
        </p:nvGraphicFramePr>
        <p:xfrm>
          <a:off x="2343149" y="2270189"/>
          <a:ext cx="9275460" cy="3611820"/>
        </p:xfrm>
        <a:graphic>
          <a:graphicData uri="http://schemas.openxmlformats.org/drawingml/2006/table">
            <a:tbl>
              <a:tblPr/>
              <a:tblGrid>
                <a:gridCol w="772955">
                  <a:extLst>
                    <a:ext uri="{9D8B030D-6E8A-4147-A177-3AD203B41FA5}">
                      <a16:colId xmlns:a16="http://schemas.microsoft.com/office/drawing/2014/main" val="232433046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69523048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744198490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907519334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08230373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44055127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71237111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275362931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7782727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00976374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37530968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765532093"/>
                    </a:ext>
                  </a:extLst>
                </a:gridCol>
              </a:tblGrid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97671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43387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89015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2887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06304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76082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87660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08339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386696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6598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95640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85299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B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105028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76018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922210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12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(ZP)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dnu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listopadu mírně vzrostla, a to ve všech profesních skupinách. Celková proočkovanost ZP dosáhla 82,9 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8F175CA-2495-4E5A-9100-B5DB58311535}"/>
              </a:ext>
            </a:extLst>
          </p:cNvPr>
          <p:cNvGraphicFramePr>
            <a:graphicFrameLocks noGrp="1"/>
          </p:cNvGraphicFramePr>
          <p:nvPr/>
        </p:nvGraphicFramePr>
        <p:xfrm>
          <a:off x="3786976" y="2005806"/>
          <a:ext cx="7348192" cy="3987120"/>
        </p:xfrm>
        <a:graphic>
          <a:graphicData uri="http://schemas.openxmlformats.org/drawingml/2006/table">
            <a:tbl>
              <a:tblPr/>
              <a:tblGrid>
                <a:gridCol w="1837048">
                  <a:extLst>
                    <a:ext uri="{9D8B030D-6E8A-4147-A177-3AD203B41FA5}">
                      <a16:colId xmlns:a16="http://schemas.microsoft.com/office/drawing/2014/main" val="10674169"/>
                    </a:ext>
                  </a:extLst>
                </a:gridCol>
                <a:gridCol w="1837048">
                  <a:extLst>
                    <a:ext uri="{9D8B030D-6E8A-4147-A177-3AD203B41FA5}">
                      <a16:colId xmlns:a16="http://schemas.microsoft.com/office/drawing/2014/main" val="22505257"/>
                    </a:ext>
                  </a:extLst>
                </a:gridCol>
                <a:gridCol w="1837048">
                  <a:extLst>
                    <a:ext uri="{9D8B030D-6E8A-4147-A177-3AD203B41FA5}">
                      <a16:colId xmlns:a16="http://schemas.microsoft.com/office/drawing/2014/main" val="716051083"/>
                    </a:ext>
                  </a:extLst>
                </a:gridCol>
                <a:gridCol w="1837048">
                  <a:extLst>
                    <a:ext uri="{9D8B030D-6E8A-4147-A177-3AD203B41FA5}">
                      <a16:colId xmlns:a16="http://schemas.microsoft.com/office/drawing/2014/main" val="3854440517"/>
                    </a:ext>
                  </a:extLst>
                </a:gridCol>
              </a:tblGrid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370342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362427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14624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24931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693846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451867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9047079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617341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6341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962692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93019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17748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673757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49526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1801069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3 / 9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87 / 7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47 / 1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157 / 17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35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2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65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2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39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7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3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4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34 / 8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5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0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6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2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5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6 / 6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6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52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4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9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1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9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7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39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9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3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44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106 / 8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3 / 7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1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13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57 / 12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3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3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9 / 1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0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6 / 10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24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90 / 13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94 / 37 / 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 (443 / 52 / 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 (269 / 2 / 4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9 (806 / 91 / 10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3. 12. – 9. 12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A6C5758-F634-4719-AB93-A6AA9C800B7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657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525315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167278"/>
              </p:ext>
            </p:extLst>
          </p:nvPr>
        </p:nvGraphicFramePr>
        <p:xfrm>
          <a:off x="1777230" y="431735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0318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675630" y="478505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1. 12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105194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dále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9460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CCEF7F4-60D7-46B4-B95D-88F70A4D4E22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8051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417014" y="561308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6294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331636" y="4956820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1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181445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dále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464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FE9486C-9D7B-4F78-A06B-1A43F68807D4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5031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66394" y="580369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08703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592504" y="494791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1. 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269085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dále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053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16E8B61E-7B09-49AD-B350-4EA2A0B2F24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66394" y="550035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69193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85657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1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16435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dále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7159483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3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5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8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0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9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0 7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12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1879482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99968" y="6403141"/>
            <a:ext cx="118693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2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764945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8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8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6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 7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0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2658398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9. 12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3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2703916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371642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818 (87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03 (5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04 (2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1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 (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1 (9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828 (8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765 (4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052 (4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1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2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0 (9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636 (8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70 (3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60 (4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6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1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75 (12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1 (78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9 (3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7 (4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 (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2 (14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2 (78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9 (3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9 (4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 (11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56 (8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2 (3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4 (4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 (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1 (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1 (10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8 (8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6 (4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8 (3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(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 (9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6 (7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4 (2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0 (44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0 (8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4 (15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47 (8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2 (3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23 (43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 (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1 (11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11 (8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6 (3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1 (43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9 (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8 (12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8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6 282 (8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5 238 (4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6 816 (38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 228 (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 827 (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 736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4 8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1 8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8 8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505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72</TotalTime>
  <Words>9995</Words>
  <Application>Microsoft Office PowerPoint</Application>
  <PresentationFormat>Širokoúhlá obrazovka</PresentationFormat>
  <Paragraphs>2129</Paragraphs>
  <Slides>43</Slides>
  <Notes>26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3</vt:i4>
      </vt:variant>
    </vt:vector>
  </HeadingPairs>
  <TitlesOfParts>
    <vt:vector size="49" baseType="lpstr">
      <vt:lpstr>Arial</vt:lpstr>
      <vt:lpstr>Calibri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(ZP)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2 / 2021 k 9. 12.</vt:lpstr>
      <vt:lpstr>Přehled povolání u COVID-19 pozitivních ostatních zdravotnických pracovníků za období 10-12 / 2021 k 9. 12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pracovníků v zařízeních sociálních služeb  s nákazou COVID-19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02</cp:revision>
  <dcterms:created xsi:type="dcterms:W3CDTF">2020-11-11T17:36:28Z</dcterms:created>
  <dcterms:modified xsi:type="dcterms:W3CDTF">2021-12-13T07:16:16Z</dcterms:modified>
</cp:coreProperties>
</file>